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708" r:id="rId2"/>
    <p:sldMasterId id="2147483719" r:id="rId3"/>
    <p:sldMasterId id="2147483731" r:id="rId4"/>
  </p:sldMasterIdLst>
  <p:notesMasterIdLst>
    <p:notesMasterId r:id="rId17"/>
  </p:notesMasterIdLst>
  <p:handoutMasterIdLst>
    <p:handoutMasterId r:id="rId18"/>
  </p:handoutMasterIdLst>
  <p:sldIdLst>
    <p:sldId id="260" r:id="rId5"/>
    <p:sldId id="287" r:id="rId6"/>
    <p:sldId id="999" r:id="rId7"/>
    <p:sldId id="1430" r:id="rId8"/>
    <p:sldId id="1000" r:id="rId9"/>
    <p:sldId id="1002" r:id="rId10"/>
    <p:sldId id="1431" r:id="rId11"/>
    <p:sldId id="256" r:id="rId12"/>
    <p:sldId id="2147483569" r:id="rId13"/>
    <p:sldId id="2147483571" r:id="rId14"/>
    <p:sldId id="2147483572" r:id="rId15"/>
    <p:sldId id="2147483573" r:id="rId16"/>
  </p:sldIdLst>
  <p:sldSz cx="9144000" cy="5143500" type="screen16x9"/>
  <p:notesSz cx="7315200" cy="96012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A5F31A7-DEF6-0A9A-F8B5-A48FC954158B}" name="Adams, Sarah, A" initials="SA" userId="S::saaadams@iso-ne.com::ffe528ef-44f5-4860-8ed8-eb756c4e3a0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EBF62"/>
    <a:srgbClr val="000000"/>
    <a:srgbClr val="D6E5C8"/>
    <a:srgbClr val="EBF3E6"/>
    <a:srgbClr val="1E6A9A"/>
    <a:srgbClr val="1795D2"/>
    <a:srgbClr val="5DB5E0"/>
    <a:srgbClr val="1277A8"/>
    <a:srgbClr val="FFFFFF"/>
    <a:srgbClr val="1C96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9E1A88C-502F-EEE6-9E1C-5706C003C8F3}" v="1" dt="2025-05-14T17:11:28.4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2" autoAdjust="0"/>
  </p:normalViewPr>
  <p:slideViewPr>
    <p:cSldViewPr>
      <p:cViewPr varScale="1">
        <p:scale>
          <a:sx n="137" d="100"/>
          <a:sy n="137" d="100"/>
        </p:scale>
        <p:origin x="822" y="11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4" d="100"/>
          <a:sy n="64" d="100"/>
        </p:scale>
        <p:origin x="-3130" y="-8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microsoft.com/office/2018/10/relationships/authors" Target="authors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hlichting, Kerry" userId="S::kschlichting@iso-ne.com::b44e1471-8d08-406f-b093-a09759db452d" providerId="AD" clId="Web-{59E1A88C-502F-EEE6-9E1C-5706C003C8F3}"/>
    <pc:docChg chg="modSld">
      <pc:chgData name="Schlichting, Kerry" userId="S::kschlichting@iso-ne.com::b44e1471-8d08-406f-b093-a09759db452d" providerId="AD" clId="Web-{59E1A88C-502F-EEE6-9E1C-5706C003C8F3}" dt="2025-05-14T17:11:28.465" v="0" actId="1076"/>
      <pc:docMkLst>
        <pc:docMk/>
      </pc:docMkLst>
      <pc:sldChg chg="modSp">
        <pc:chgData name="Schlichting, Kerry" userId="S::kschlichting@iso-ne.com::b44e1471-8d08-406f-b093-a09759db452d" providerId="AD" clId="Web-{59E1A88C-502F-EEE6-9E1C-5706C003C8F3}" dt="2025-05-14T17:11:28.465" v="0" actId="1076"/>
        <pc:sldMkLst>
          <pc:docMk/>
          <pc:sldMk cId="970229500" sldId="1430"/>
        </pc:sldMkLst>
        <pc:spChg chg="mod">
          <ac:chgData name="Schlichting, Kerry" userId="S::kschlichting@iso-ne.com::b44e1471-8d08-406f-b093-a09759db452d" providerId="AD" clId="Web-{59E1A88C-502F-EEE6-9E1C-5706C003C8F3}" dt="2025-05-14T17:11:28.465" v="0" actId="1076"/>
          <ac:spMkLst>
            <pc:docMk/>
            <pc:sldMk cId="970229500" sldId="1430"/>
            <ac:spMk id="2" creationId="{436C7BBE-78F6-A3D9-51EB-EDAEB6D5DFA7}"/>
          </ac:spMkLst>
        </pc:spChg>
      </pc:sldChg>
    </pc:docChg>
  </pc:docChgLst>
  <pc:docChgLst>
    <pc:chgData name="Adams, Sarah, A" userId="S::saaadams@iso-ne.com::ffe528ef-44f5-4860-8ed8-eb756c4e3a01" providerId="AD" clId="Web-{392704E3-8611-890B-D1DE-2DCA4E9493B4}"/>
    <pc:docChg chg="modSld">
      <pc:chgData name="Adams, Sarah, A" userId="S::saaadams@iso-ne.com::ffe528ef-44f5-4860-8ed8-eb756c4e3a01" providerId="AD" clId="Web-{392704E3-8611-890B-D1DE-2DCA4E9493B4}" dt="2025-05-12T13:28:21.040" v="54" actId="1076"/>
      <pc:docMkLst>
        <pc:docMk/>
      </pc:docMkLst>
      <pc:sldChg chg="addSp modSp">
        <pc:chgData name="Adams, Sarah, A" userId="S::saaadams@iso-ne.com::ffe528ef-44f5-4860-8ed8-eb756c4e3a01" providerId="AD" clId="Web-{392704E3-8611-890B-D1DE-2DCA4E9493B4}" dt="2025-05-12T13:21:52.323" v="7" actId="14100"/>
        <pc:sldMkLst>
          <pc:docMk/>
          <pc:sldMk cId="970229500" sldId="1430"/>
        </pc:sldMkLst>
        <pc:spChg chg="add mod">
          <ac:chgData name="Adams, Sarah, A" userId="S::saaadams@iso-ne.com::ffe528ef-44f5-4860-8ed8-eb756c4e3a01" providerId="AD" clId="Web-{392704E3-8611-890B-D1DE-2DCA4E9493B4}" dt="2025-05-12T13:21:52.323" v="7" actId="14100"/>
          <ac:spMkLst>
            <pc:docMk/>
            <pc:sldMk cId="970229500" sldId="1430"/>
            <ac:spMk id="4" creationId="{0A879173-705E-9E5F-22EB-44B63A602ADB}"/>
          </ac:spMkLst>
        </pc:spChg>
      </pc:sldChg>
      <pc:sldChg chg="modSp modCm">
        <pc:chgData name="Adams, Sarah, A" userId="S::saaadams@iso-ne.com::ffe528ef-44f5-4860-8ed8-eb756c4e3a01" providerId="AD" clId="Web-{392704E3-8611-890B-D1DE-2DCA4E9493B4}" dt="2025-05-12T13:28:21.040" v="54" actId="1076"/>
        <pc:sldMkLst>
          <pc:docMk/>
          <pc:sldMk cId="3875099131" sldId="1431"/>
        </pc:sldMkLst>
        <pc:spChg chg="mod">
          <ac:chgData name="Adams, Sarah, A" userId="S::saaadams@iso-ne.com::ffe528ef-44f5-4860-8ed8-eb756c4e3a01" providerId="AD" clId="Web-{392704E3-8611-890B-D1DE-2DCA4E9493B4}" dt="2025-05-12T13:27:56.259" v="50" actId="20577"/>
          <ac:spMkLst>
            <pc:docMk/>
            <pc:sldMk cId="3875099131" sldId="1431"/>
            <ac:spMk id="7" creationId="{8BEDBBF3-F41F-7920-897F-56492DCADDE2}"/>
          </ac:spMkLst>
        </pc:spChg>
        <pc:picChg chg="mod modCrop">
          <ac:chgData name="Adams, Sarah, A" userId="S::saaadams@iso-ne.com::ffe528ef-44f5-4860-8ed8-eb756c4e3a01" providerId="AD" clId="Web-{392704E3-8611-890B-D1DE-2DCA4E9493B4}" dt="2025-05-12T13:28:21.040" v="54" actId="1076"/>
          <ac:picMkLst>
            <pc:docMk/>
            <pc:sldMk cId="3875099131" sldId="1431"/>
            <ac:picMk id="8" creationId="{FD6FE070-3399-50A1-6432-4F75F4D4902F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Adams, Sarah, A" userId="S::saaadams@iso-ne.com::ffe528ef-44f5-4860-8ed8-eb756c4e3a01" providerId="AD" clId="Web-{392704E3-8611-890B-D1DE-2DCA4E9493B4}" dt="2025-05-12T13:26:54.243" v="43" actId="20577"/>
              <pc2:cmMkLst xmlns:pc2="http://schemas.microsoft.com/office/powerpoint/2019/9/main/command">
                <pc:docMk/>
                <pc:sldMk cId="3875099131" sldId="1431"/>
                <pc2:cmMk id="{CC3D2F94-DB2E-44E4-9F4E-60CFC707DB6D}"/>
              </pc2:cmMkLst>
            </pc226:cmChg>
          </p:ext>
        </pc:extLst>
      </pc:sldChg>
    </pc:docChg>
  </pc:docChgLst>
  <pc:docChgLst>
    <pc:chgData name="Adams, Sarah, A" userId="ffe528ef-44f5-4860-8ed8-eb756c4e3a01" providerId="ADAL" clId="{05B31B8C-35EB-4B04-8FEC-162D0E8FAA02}"/>
    <pc:docChg chg="undo custSel addSld delSld modSld">
      <pc:chgData name="Adams, Sarah, A" userId="ffe528ef-44f5-4860-8ed8-eb756c4e3a01" providerId="ADAL" clId="{05B31B8C-35EB-4B04-8FEC-162D0E8FAA02}" dt="2025-05-12T13:13:56.112" v="130" actId="948"/>
      <pc:docMkLst>
        <pc:docMk/>
      </pc:docMkLst>
      <pc:sldChg chg="del">
        <pc:chgData name="Adams, Sarah, A" userId="ffe528ef-44f5-4860-8ed8-eb756c4e3a01" providerId="ADAL" clId="{05B31B8C-35EB-4B04-8FEC-162D0E8FAA02}" dt="2025-05-12T13:01:56.186" v="95" actId="47"/>
        <pc:sldMkLst>
          <pc:docMk/>
          <pc:sldMk cId="1002203702" sldId="1001"/>
        </pc:sldMkLst>
      </pc:sldChg>
      <pc:sldChg chg="addSp delSp modSp add mod modCm">
        <pc:chgData name="Adams, Sarah, A" userId="ffe528ef-44f5-4860-8ed8-eb756c4e3a01" providerId="ADAL" clId="{05B31B8C-35EB-4B04-8FEC-162D0E8FAA02}" dt="2025-05-12T13:13:56.112" v="130" actId="948"/>
        <pc:sldMkLst>
          <pc:docMk/>
          <pc:sldMk cId="3875099131" sldId="1431"/>
        </pc:sldMkLst>
        <pc:spChg chg="mod">
          <ac:chgData name="Adams, Sarah, A" userId="ffe528ef-44f5-4860-8ed8-eb756c4e3a01" providerId="ADAL" clId="{05B31B8C-35EB-4B04-8FEC-162D0E8FAA02}" dt="2025-05-12T13:13:56.112" v="130" actId="948"/>
          <ac:spMkLst>
            <pc:docMk/>
            <pc:sldMk cId="3875099131" sldId="1431"/>
            <ac:spMk id="7" creationId="{8BEDBBF3-F41F-7920-897F-56492DCADDE2}"/>
          </ac:spMkLst>
        </pc:spChg>
        <pc:picChg chg="add del mod ord modCrop">
          <ac:chgData name="Adams, Sarah, A" userId="ffe528ef-44f5-4860-8ed8-eb756c4e3a01" providerId="ADAL" clId="{05B31B8C-35EB-4B04-8FEC-162D0E8FAA02}" dt="2025-05-12T13:11:56.557" v="112" actId="478"/>
          <ac:picMkLst>
            <pc:docMk/>
            <pc:sldMk cId="3875099131" sldId="1431"/>
            <ac:picMk id="5" creationId="{E138569E-40B3-76E3-B064-C673F5105E03}"/>
          </ac:picMkLst>
        </pc:picChg>
        <pc:picChg chg="add mod ord">
          <ac:chgData name="Adams, Sarah, A" userId="ffe528ef-44f5-4860-8ed8-eb756c4e3a01" providerId="ADAL" clId="{05B31B8C-35EB-4B04-8FEC-162D0E8FAA02}" dt="2025-05-12T13:13:47.897" v="129" actId="1037"/>
          <ac:picMkLst>
            <pc:docMk/>
            <pc:sldMk cId="3875099131" sldId="1431"/>
            <ac:picMk id="8" creationId="{FD6FE070-3399-50A1-6432-4F75F4D4902F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Adams, Sarah, A" userId="ffe528ef-44f5-4860-8ed8-eb756c4e3a01" providerId="ADAL" clId="{05B31B8C-35EB-4B04-8FEC-162D0E8FAA02}" dt="2025-05-12T13:02:49.104" v="98" actId="20577"/>
              <pc2:cmMkLst xmlns:pc2="http://schemas.microsoft.com/office/powerpoint/2019/9/main/command">
                <pc:docMk/>
                <pc:sldMk cId="3875099131" sldId="1431"/>
                <pc2:cmMk id="{CC3D2F94-DB2E-44E4-9F4E-60CFC707DB6D}"/>
              </pc2:cmMkLst>
            </pc226:cmChg>
          </p:ext>
        </pc:ext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isone.sharepoint.com/sites/TalkingPointsLibrary278/Shared%20Documents/EA%20Overview/Source%20Data/Copy%20of%20historical_forecast_energy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noFill/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0567683678519867E-2"/>
          <c:y val="7.8893627879848355E-2"/>
          <c:w val="0.93886463264296027"/>
          <c:h val="0.87024788568095635"/>
        </c:manualLayout>
      </c:layout>
      <c:lineChart>
        <c:grouping val="standard"/>
        <c:varyColors val="0"/>
        <c:ser>
          <c:idx val="6"/>
          <c:order val="0"/>
          <c:tx>
            <c:strRef>
              <c:f>'historical+forecast energy'!$D$1</c:f>
              <c:strCache>
                <c:ptCount val="1"/>
                <c:pt idx="0">
                  <c:v>historical average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  <a:lumOff val="40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'historical+forecast energy'!$A$2:$A$41</c:f>
              <c:numCache>
                <c:formatCode>General</c:formatCode>
                <c:ptCount val="40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  <c:pt idx="24">
                  <c:v>2019</c:v>
                </c:pt>
                <c:pt idx="25">
                  <c:v>2020</c:v>
                </c:pt>
                <c:pt idx="26">
                  <c:v>2021</c:v>
                </c:pt>
                <c:pt idx="27">
                  <c:v>2022</c:v>
                </c:pt>
                <c:pt idx="28">
                  <c:v>2023</c:v>
                </c:pt>
                <c:pt idx="29">
                  <c:v>2024</c:v>
                </c:pt>
                <c:pt idx="30">
                  <c:v>2025</c:v>
                </c:pt>
                <c:pt idx="31">
                  <c:v>2026</c:v>
                </c:pt>
                <c:pt idx="32">
                  <c:v>2027</c:v>
                </c:pt>
                <c:pt idx="33">
                  <c:v>2028</c:v>
                </c:pt>
                <c:pt idx="34">
                  <c:v>2029</c:v>
                </c:pt>
                <c:pt idx="35">
                  <c:v>2030</c:v>
                </c:pt>
                <c:pt idx="36">
                  <c:v>2031</c:v>
                </c:pt>
                <c:pt idx="37">
                  <c:v>2032</c:v>
                </c:pt>
                <c:pt idx="38">
                  <c:v>2033</c:v>
                </c:pt>
                <c:pt idx="39">
                  <c:v>2034</c:v>
                </c:pt>
              </c:numCache>
            </c:numRef>
          </c:cat>
          <c:val>
            <c:numRef>
              <c:f>'historical+forecast energy'!$D$2:$D$41</c:f>
              <c:numCache>
                <c:formatCode>General</c:formatCode>
                <c:ptCount val="40"/>
                <c:pt idx="0">
                  <c:v>124438</c:v>
                </c:pt>
                <c:pt idx="1">
                  <c:v>124438</c:v>
                </c:pt>
                <c:pt idx="2">
                  <c:v>124438</c:v>
                </c:pt>
                <c:pt idx="3">
                  <c:v>124438</c:v>
                </c:pt>
                <c:pt idx="4">
                  <c:v>124438</c:v>
                </c:pt>
                <c:pt idx="5">
                  <c:v>124438</c:v>
                </c:pt>
                <c:pt idx="6">
                  <c:v>124438</c:v>
                </c:pt>
                <c:pt idx="7">
                  <c:v>124438</c:v>
                </c:pt>
                <c:pt idx="8">
                  <c:v>124438</c:v>
                </c:pt>
                <c:pt idx="9">
                  <c:v>124438</c:v>
                </c:pt>
                <c:pt idx="10">
                  <c:v>124438</c:v>
                </c:pt>
                <c:pt idx="11">
                  <c:v>124438</c:v>
                </c:pt>
                <c:pt idx="12">
                  <c:v>124438</c:v>
                </c:pt>
                <c:pt idx="13">
                  <c:v>124438</c:v>
                </c:pt>
                <c:pt idx="14">
                  <c:v>124438</c:v>
                </c:pt>
                <c:pt idx="15">
                  <c:v>124438</c:v>
                </c:pt>
                <c:pt idx="16">
                  <c:v>124438</c:v>
                </c:pt>
                <c:pt idx="17">
                  <c:v>124438</c:v>
                </c:pt>
                <c:pt idx="18">
                  <c:v>124438</c:v>
                </c:pt>
                <c:pt idx="19">
                  <c:v>124438</c:v>
                </c:pt>
                <c:pt idx="20">
                  <c:v>124438</c:v>
                </c:pt>
                <c:pt idx="21">
                  <c:v>124438</c:v>
                </c:pt>
                <c:pt idx="22">
                  <c:v>124438</c:v>
                </c:pt>
                <c:pt idx="23">
                  <c:v>124438</c:v>
                </c:pt>
                <c:pt idx="24">
                  <c:v>124438</c:v>
                </c:pt>
                <c:pt idx="25">
                  <c:v>124438</c:v>
                </c:pt>
                <c:pt idx="26">
                  <c:v>124438</c:v>
                </c:pt>
                <c:pt idx="27">
                  <c:v>124438</c:v>
                </c:pt>
                <c:pt idx="28">
                  <c:v>124438</c:v>
                </c:pt>
                <c:pt idx="29">
                  <c:v>124438</c:v>
                </c:pt>
                <c:pt idx="30">
                  <c:v>124438</c:v>
                </c:pt>
                <c:pt idx="31">
                  <c:v>124438</c:v>
                </c:pt>
                <c:pt idx="32">
                  <c:v>124438</c:v>
                </c:pt>
                <c:pt idx="33">
                  <c:v>124438</c:v>
                </c:pt>
                <c:pt idx="34">
                  <c:v>124438</c:v>
                </c:pt>
                <c:pt idx="35">
                  <c:v>124438</c:v>
                </c:pt>
                <c:pt idx="36">
                  <c:v>124438</c:v>
                </c:pt>
                <c:pt idx="37">
                  <c:v>124438</c:v>
                </c:pt>
                <c:pt idx="38">
                  <c:v>124438</c:v>
                </c:pt>
                <c:pt idx="39">
                  <c:v>1244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0DB-4C8E-8401-ABFDFD96E215}"/>
            </c:ext>
          </c:extLst>
        </c:ser>
        <c:ser>
          <c:idx val="0"/>
          <c:order val="1"/>
          <c:tx>
            <c:strRef>
              <c:f>'historical+forecast energy'!$B$1</c:f>
              <c:strCache>
                <c:ptCount val="1"/>
                <c:pt idx="0">
                  <c:v>forecast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Pt>
            <c:idx val="29"/>
            <c:marker>
              <c:symbol val="circle"/>
              <c:size val="6"/>
              <c:spPr>
                <a:solidFill>
                  <a:schemeClr val="bg1"/>
                </a:solidFill>
                <a:ln w="25400">
                  <a:solidFill>
                    <a:schemeClr val="accent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B0DB-4C8E-8401-ABFDFD96E215}"/>
              </c:ext>
            </c:extLst>
          </c:dPt>
          <c:dPt>
            <c:idx val="30"/>
            <c:marker>
              <c:symbol val="circle"/>
              <c:size val="6"/>
              <c:spPr>
                <a:solidFill>
                  <a:schemeClr val="bg1"/>
                </a:solidFill>
                <a:ln w="25400">
                  <a:solidFill>
                    <a:schemeClr val="accent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B0DB-4C8E-8401-ABFDFD96E215}"/>
              </c:ext>
            </c:extLst>
          </c:dPt>
          <c:dPt>
            <c:idx val="3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3-B0DB-4C8E-8401-ABFDFD96E215}"/>
              </c:ext>
            </c:extLst>
          </c:dPt>
          <c:dPt>
            <c:idx val="39"/>
            <c:marker>
              <c:symbol val="circle"/>
              <c:size val="6"/>
              <c:spPr>
                <a:solidFill>
                  <a:schemeClr val="bg1"/>
                </a:solidFill>
                <a:ln w="25400">
                  <a:solidFill>
                    <a:schemeClr val="accent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B0DB-4C8E-8401-ABFDFD96E215}"/>
              </c:ext>
            </c:extLst>
          </c:dPt>
          <c:cat>
            <c:numRef>
              <c:f>'historical+forecast energy'!$A$2:$A$41</c:f>
              <c:numCache>
                <c:formatCode>General</c:formatCode>
                <c:ptCount val="40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  <c:pt idx="24">
                  <c:v>2019</c:v>
                </c:pt>
                <c:pt idx="25">
                  <c:v>2020</c:v>
                </c:pt>
                <c:pt idx="26">
                  <c:v>2021</c:v>
                </c:pt>
                <c:pt idx="27">
                  <c:v>2022</c:v>
                </c:pt>
                <c:pt idx="28">
                  <c:v>2023</c:v>
                </c:pt>
                <c:pt idx="29">
                  <c:v>2024</c:v>
                </c:pt>
                <c:pt idx="30">
                  <c:v>2025</c:v>
                </c:pt>
                <c:pt idx="31">
                  <c:v>2026</c:v>
                </c:pt>
                <c:pt idx="32">
                  <c:v>2027</c:v>
                </c:pt>
                <c:pt idx="33">
                  <c:v>2028</c:v>
                </c:pt>
                <c:pt idx="34">
                  <c:v>2029</c:v>
                </c:pt>
                <c:pt idx="35">
                  <c:v>2030</c:v>
                </c:pt>
                <c:pt idx="36">
                  <c:v>2031</c:v>
                </c:pt>
                <c:pt idx="37">
                  <c:v>2032</c:v>
                </c:pt>
                <c:pt idx="38">
                  <c:v>2033</c:v>
                </c:pt>
                <c:pt idx="39">
                  <c:v>2034</c:v>
                </c:pt>
              </c:numCache>
            </c:numRef>
          </c:cat>
          <c:val>
            <c:numRef>
              <c:f>'historical+forecast energy'!$B$2:$B$41</c:f>
              <c:numCache>
                <c:formatCode>General</c:formatCode>
                <c:ptCount val="40"/>
                <c:pt idx="30">
                  <c:v>117262</c:v>
                </c:pt>
                <c:pt idx="31">
                  <c:v>117829</c:v>
                </c:pt>
                <c:pt idx="32">
                  <c:v>118591</c:v>
                </c:pt>
                <c:pt idx="33">
                  <c:v>119559</c:v>
                </c:pt>
                <c:pt idx="34">
                  <c:v>120659</c:v>
                </c:pt>
                <c:pt idx="35">
                  <c:v>122044</c:v>
                </c:pt>
                <c:pt idx="36">
                  <c:v>123747</c:v>
                </c:pt>
                <c:pt idx="37">
                  <c:v>125761</c:v>
                </c:pt>
                <c:pt idx="38">
                  <c:v>128034</c:v>
                </c:pt>
                <c:pt idx="39">
                  <c:v>13066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5-B0DB-4C8E-8401-ABFDFD96E215}"/>
            </c:ext>
          </c:extLst>
        </c:ser>
        <c:ser>
          <c:idx val="5"/>
          <c:order val="2"/>
          <c:tx>
            <c:strRef>
              <c:f>'historical+forecast energy'!$C$1</c:f>
              <c:strCache>
                <c:ptCount val="1"/>
                <c:pt idx="0">
                  <c:v>historica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circle"/>
              <c:size val="6"/>
              <c:spPr>
                <a:solidFill>
                  <a:schemeClr val="bg1"/>
                </a:solidFill>
                <a:ln w="25400">
                  <a:solidFill>
                    <a:schemeClr val="accent2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B0DB-4C8E-8401-ABFDFD96E215}"/>
              </c:ext>
            </c:extLst>
          </c:dPt>
          <c:dPt>
            <c:idx val="10"/>
            <c:marker>
              <c:symbol val="circle"/>
              <c:size val="6"/>
              <c:spPr>
                <a:solidFill>
                  <a:schemeClr val="bg1"/>
                </a:solidFill>
                <a:ln w="25400">
                  <a:solidFill>
                    <a:schemeClr val="accent2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B0DB-4C8E-8401-ABFDFD96E215}"/>
              </c:ext>
            </c:extLst>
          </c:dPt>
          <c:dPt>
            <c:idx val="2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8-B0DB-4C8E-8401-ABFDFD96E215}"/>
              </c:ext>
            </c:extLst>
          </c:dPt>
          <c:dPt>
            <c:idx val="29"/>
            <c:marker>
              <c:symbol val="circle"/>
              <c:size val="6"/>
              <c:spPr>
                <a:solidFill>
                  <a:schemeClr val="bg1"/>
                </a:solidFill>
                <a:ln w="25400">
                  <a:solidFill>
                    <a:schemeClr val="accent2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B0DB-4C8E-8401-ABFDFD96E215}"/>
              </c:ext>
            </c:extLst>
          </c:dPt>
          <c:cat>
            <c:numRef>
              <c:f>'historical+forecast energy'!$A$2:$A$41</c:f>
              <c:numCache>
                <c:formatCode>General</c:formatCode>
                <c:ptCount val="40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  <c:pt idx="22">
                  <c:v>2017</c:v>
                </c:pt>
                <c:pt idx="23">
                  <c:v>2018</c:v>
                </c:pt>
                <c:pt idx="24">
                  <c:v>2019</c:v>
                </c:pt>
                <c:pt idx="25">
                  <c:v>2020</c:v>
                </c:pt>
                <c:pt idx="26">
                  <c:v>2021</c:v>
                </c:pt>
                <c:pt idx="27">
                  <c:v>2022</c:v>
                </c:pt>
                <c:pt idx="28">
                  <c:v>2023</c:v>
                </c:pt>
                <c:pt idx="29">
                  <c:v>2024</c:v>
                </c:pt>
                <c:pt idx="30">
                  <c:v>2025</c:v>
                </c:pt>
                <c:pt idx="31">
                  <c:v>2026</c:v>
                </c:pt>
                <c:pt idx="32">
                  <c:v>2027</c:v>
                </c:pt>
                <c:pt idx="33">
                  <c:v>2028</c:v>
                </c:pt>
                <c:pt idx="34">
                  <c:v>2029</c:v>
                </c:pt>
                <c:pt idx="35">
                  <c:v>2030</c:v>
                </c:pt>
                <c:pt idx="36">
                  <c:v>2031</c:v>
                </c:pt>
                <c:pt idx="37">
                  <c:v>2032</c:v>
                </c:pt>
                <c:pt idx="38">
                  <c:v>2033</c:v>
                </c:pt>
                <c:pt idx="39">
                  <c:v>2034</c:v>
                </c:pt>
              </c:numCache>
            </c:numRef>
          </c:cat>
          <c:val>
            <c:numRef>
              <c:f>'historical+forecast energy'!$C$2:$C$40</c:f>
              <c:numCache>
                <c:formatCode>General</c:formatCode>
                <c:ptCount val="39"/>
                <c:pt idx="0">
                  <c:v>112850</c:v>
                </c:pt>
                <c:pt idx="1">
                  <c:v>114655</c:v>
                </c:pt>
                <c:pt idx="2">
                  <c:v>115588</c:v>
                </c:pt>
                <c:pt idx="3">
                  <c:v>116897</c:v>
                </c:pt>
                <c:pt idx="4">
                  <c:v>121979</c:v>
                </c:pt>
                <c:pt idx="5">
                  <c:v>125396</c:v>
                </c:pt>
                <c:pt idx="6">
                  <c:v>126499</c:v>
                </c:pt>
                <c:pt idx="7">
                  <c:v>128031</c:v>
                </c:pt>
                <c:pt idx="8">
                  <c:v>130784</c:v>
                </c:pt>
                <c:pt idx="9">
                  <c:v>132535</c:v>
                </c:pt>
                <c:pt idx="10">
                  <c:v>136425</c:v>
                </c:pt>
                <c:pt idx="11">
                  <c:v>132114</c:v>
                </c:pt>
                <c:pt idx="12">
                  <c:v>134500</c:v>
                </c:pt>
                <c:pt idx="13">
                  <c:v>131802</c:v>
                </c:pt>
                <c:pt idx="14">
                  <c:v>126849</c:v>
                </c:pt>
                <c:pt idx="15">
                  <c:v>130787</c:v>
                </c:pt>
                <c:pt idx="16">
                  <c:v>129175</c:v>
                </c:pt>
                <c:pt idx="17">
                  <c:v>128146</c:v>
                </c:pt>
                <c:pt idx="18">
                  <c:v>129424</c:v>
                </c:pt>
                <c:pt idx="19">
                  <c:v>127226</c:v>
                </c:pt>
                <c:pt idx="20">
                  <c:v>126991</c:v>
                </c:pt>
                <c:pt idx="21">
                  <c:v>124437</c:v>
                </c:pt>
                <c:pt idx="22">
                  <c:v>121235</c:v>
                </c:pt>
                <c:pt idx="23">
                  <c:v>123475</c:v>
                </c:pt>
                <c:pt idx="24">
                  <c:v>119237</c:v>
                </c:pt>
                <c:pt idx="25">
                  <c:v>116875</c:v>
                </c:pt>
                <c:pt idx="26">
                  <c:v>118762</c:v>
                </c:pt>
                <c:pt idx="27">
                  <c:v>118930</c:v>
                </c:pt>
                <c:pt idx="28">
                  <c:v>114722</c:v>
                </c:pt>
                <c:pt idx="29" formatCode="#,##0">
                  <c:v>11681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A-B0DB-4C8E-8401-ABFDFD96E2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11682744"/>
        <c:axId val="611683400"/>
        <c:extLst/>
      </c:lineChart>
      <c:catAx>
        <c:axId val="6116827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11683400"/>
        <c:crosses val="autoZero"/>
        <c:auto val="1"/>
        <c:lblAlgn val="ctr"/>
        <c:lblOffset val="100"/>
        <c:tickLblSkip val="5"/>
        <c:noMultiLvlLbl val="0"/>
      </c:catAx>
      <c:valAx>
        <c:axId val="611683400"/>
        <c:scaling>
          <c:orientation val="minMax"/>
          <c:max val="141000"/>
          <c:min val="110000"/>
        </c:scaling>
        <c:delete val="1"/>
        <c:axPos val="l"/>
        <c:numFmt formatCode="#,##0" sourceLinked="0"/>
        <c:majorTickMark val="out"/>
        <c:minorTickMark val="none"/>
        <c:tickLblPos val="nextTo"/>
        <c:crossAx val="611682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88</cdr:x>
      <cdr:y>0.01832</cdr:y>
    </cdr:from>
    <cdr:to>
      <cdr:x>0.97486</cdr:x>
      <cdr:y>0.1354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8261" y="51369"/>
          <a:ext cx="4200363" cy="3285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1400" b="1" i="0" baseline="0" dirty="0">
              <a:solidFill>
                <a:schemeClr val="accent2"/>
              </a:solidFill>
              <a:effectLst/>
              <a:latin typeface="Aptos" panose="020B0004020202020204" pitchFamily="34" charset="0"/>
              <a:ea typeface="Open Sans SemiBold" pitchFamily="2" charset="0"/>
              <a:cs typeface="Open Sans SemiBold" pitchFamily="2" charset="0"/>
            </a:rPr>
            <a:t>Historical</a:t>
          </a:r>
          <a:r>
            <a:rPr lang="en-US" sz="1400" b="1" i="0" baseline="0" dirty="0">
              <a:effectLst/>
              <a:latin typeface="Aptos" panose="020B0004020202020204" pitchFamily="34" charset="0"/>
              <a:ea typeface="Open Sans SemiBold" pitchFamily="2" charset="0"/>
              <a:cs typeface="Open Sans SemiBold" pitchFamily="2" charset="0"/>
            </a:rPr>
            <a:t> and </a:t>
          </a:r>
          <a:r>
            <a:rPr lang="en-US" sz="1400" b="1" i="0" baseline="0" dirty="0">
              <a:solidFill>
                <a:schemeClr val="accent3"/>
              </a:solidFill>
              <a:effectLst/>
              <a:latin typeface="Aptos" panose="020B0004020202020204" pitchFamily="34" charset="0"/>
              <a:ea typeface="Open Sans SemiBold" pitchFamily="2" charset="0"/>
              <a:cs typeface="Open Sans SemiBold" pitchFamily="2" charset="0"/>
            </a:rPr>
            <a:t>Forecast</a:t>
          </a:r>
          <a:r>
            <a:rPr lang="en-US" sz="1400" b="1" i="0" baseline="0" dirty="0">
              <a:effectLst/>
              <a:latin typeface="Aptos" panose="020B0004020202020204" pitchFamily="34" charset="0"/>
              <a:ea typeface="Open Sans SemiBold" pitchFamily="2" charset="0"/>
              <a:cs typeface="Open Sans SemiBold" pitchFamily="2" charset="0"/>
            </a:rPr>
            <a:t> Net Energy Use</a:t>
          </a:r>
          <a:endParaRPr lang="en-US" sz="1400" dirty="0">
            <a:effectLst/>
            <a:latin typeface="Aptos" panose="020B0004020202020204" pitchFamily="34" charset="0"/>
            <a:ea typeface="Open Sans SemiBold" pitchFamily="2" charset="0"/>
            <a:cs typeface="Open Sans SemiBold" pitchFamily="2" charset="0"/>
          </a:endParaRPr>
        </a:p>
      </cdr:txBody>
    </cdr:sp>
  </cdr:relSizeAnchor>
  <cdr:relSizeAnchor xmlns:cdr="http://schemas.openxmlformats.org/drawingml/2006/chartDrawing">
    <cdr:from>
      <cdr:x>0.04284</cdr:x>
      <cdr:y>0.82673</cdr:y>
    </cdr:from>
    <cdr:to>
      <cdr:x>0.37899</cdr:x>
      <cdr:y>0.92079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86266" y="2318133"/>
          <a:ext cx="1461559" cy="26374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050" b="1" dirty="0">
              <a:solidFill>
                <a:schemeClr val="accent2"/>
              </a:solidFill>
              <a:latin typeface="Aptos" panose="020B0004020202020204" pitchFamily="34" charset="0"/>
              <a:ea typeface="Open Sans SemiBold" pitchFamily="2" charset="0"/>
              <a:cs typeface="Open Sans SemiBold" pitchFamily="2" charset="0"/>
            </a:rPr>
            <a:t>1995:</a:t>
          </a:r>
          <a:r>
            <a:rPr lang="en-US" sz="1050" b="0" dirty="0">
              <a:solidFill>
                <a:srgbClr val="3E4B50"/>
              </a:solidFill>
              <a:latin typeface="Aptos" panose="020B0004020202020204" pitchFamily="34" charset="0"/>
              <a:ea typeface="Open Sans SemiBold" pitchFamily="2" charset="0"/>
              <a:cs typeface="Open Sans SemiBold" pitchFamily="2" charset="0"/>
            </a:rPr>
            <a:t> </a:t>
          </a:r>
          <a:r>
            <a:rPr lang="en-US" sz="1050" b="0" dirty="0">
              <a:solidFill>
                <a:srgbClr val="3E4B50"/>
              </a:solidFill>
              <a:latin typeface="Aptos" panose="020B0004020202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112,850</a:t>
          </a:r>
          <a:r>
            <a:rPr lang="en-US" sz="1050" b="0" baseline="0" dirty="0">
              <a:solidFill>
                <a:srgbClr val="3E4B50"/>
              </a:solidFill>
              <a:latin typeface="Aptos" panose="020B0004020202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 GWh</a:t>
          </a:r>
          <a:endParaRPr lang="en-US" sz="1050" b="0" dirty="0">
            <a:solidFill>
              <a:srgbClr val="3E4B50"/>
            </a:solidFill>
            <a:latin typeface="Aptos" panose="020B0004020202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cdr:txBody>
    </cdr:sp>
  </cdr:relSizeAnchor>
  <cdr:relSizeAnchor xmlns:cdr="http://schemas.openxmlformats.org/drawingml/2006/chartDrawing">
    <cdr:from>
      <cdr:x>0.28304</cdr:x>
      <cdr:y>0.15637</cdr:y>
    </cdr:from>
    <cdr:to>
      <cdr:x>0.59916</cdr:x>
      <cdr:y>0.25043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1294059" y="428942"/>
          <a:ext cx="1445301" cy="2580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050" b="1" dirty="0">
              <a:solidFill>
                <a:schemeClr val="accent2"/>
              </a:solidFill>
              <a:latin typeface="Aptos" panose="020B0004020202020204" pitchFamily="34" charset="0"/>
              <a:ea typeface="Open Sans SemiBold" pitchFamily="2" charset="0"/>
              <a:cs typeface="Open Sans SemiBold" pitchFamily="2" charset="0"/>
            </a:rPr>
            <a:t>2005:</a:t>
          </a:r>
          <a:r>
            <a:rPr lang="en-US" sz="1050" b="0" dirty="0">
              <a:solidFill>
                <a:srgbClr val="3E4B50"/>
              </a:solidFill>
              <a:latin typeface="Aptos" panose="020B0004020202020204" pitchFamily="34" charset="0"/>
              <a:ea typeface="Open Sans SemiBold" pitchFamily="2" charset="0"/>
              <a:cs typeface="Open Sans SemiBold" pitchFamily="2" charset="0"/>
            </a:rPr>
            <a:t> </a:t>
          </a:r>
          <a:r>
            <a:rPr lang="en-US" sz="1050" b="0" dirty="0">
              <a:solidFill>
                <a:srgbClr val="3E4B50"/>
              </a:solidFill>
              <a:latin typeface="Aptos" panose="020B0004020202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136,425</a:t>
          </a:r>
          <a:r>
            <a:rPr lang="en-US" sz="1050" b="0" baseline="0" dirty="0">
              <a:solidFill>
                <a:srgbClr val="3E4B50"/>
              </a:solidFill>
              <a:latin typeface="Aptos" panose="020B0004020202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 GWh</a:t>
          </a:r>
          <a:endParaRPr lang="en-US" sz="1050" b="0" dirty="0">
            <a:solidFill>
              <a:srgbClr val="3E4B50"/>
            </a:solidFill>
            <a:latin typeface="Aptos" panose="020B0004020202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cdr:txBody>
    </cdr:sp>
  </cdr:relSizeAnchor>
  <cdr:relSizeAnchor xmlns:cdr="http://schemas.openxmlformats.org/drawingml/2006/chartDrawing">
    <cdr:from>
      <cdr:x>0.71667</cdr:x>
      <cdr:y>0.82736</cdr:y>
    </cdr:from>
    <cdr:to>
      <cdr:x>1</cdr:x>
      <cdr:y>0.92142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3276615" y="2269611"/>
          <a:ext cx="1295385" cy="2580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050" b="1" dirty="0">
              <a:solidFill>
                <a:schemeClr val="accent2"/>
              </a:solidFill>
              <a:latin typeface="Aptos" panose="020B0004020202020204" pitchFamily="34" charset="0"/>
              <a:ea typeface="Open Sans SemiBold" pitchFamily="2" charset="0"/>
              <a:cs typeface="Open Sans SemiBold" pitchFamily="2" charset="0"/>
            </a:rPr>
            <a:t>2024:</a:t>
          </a:r>
          <a:r>
            <a:rPr lang="en-US" sz="1050" b="0" dirty="0">
              <a:solidFill>
                <a:srgbClr val="3E4B50"/>
              </a:solidFill>
              <a:latin typeface="Aptos" panose="020B0004020202020204" pitchFamily="34" charset="0"/>
              <a:ea typeface="Open Sans SemiBold" pitchFamily="2" charset="0"/>
              <a:cs typeface="Open Sans SemiBold" pitchFamily="2" charset="0"/>
            </a:rPr>
            <a:t> </a:t>
          </a:r>
          <a:r>
            <a:rPr lang="en-US" sz="1050" b="0" dirty="0">
              <a:solidFill>
                <a:srgbClr val="3E4B50"/>
              </a:solidFill>
              <a:latin typeface="Aptos" panose="020B0004020202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116,813</a:t>
          </a:r>
          <a:r>
            <a:rPr lang="en-US" sz="1050" b="0" baseline="0" dirty="0">
              <a:solidFill>
                <a:srgbClr val="3E4B50"/>
              </a:solidFill>
              <a:latin typeface="Aptos" panose="020B0004020202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 GWh</a:t>
          </a:r>
          <a:endParaRPr lang="en-US" sz="1050" b="0" dirty="0">
            <a:solidFill>
              <a:srgbClr val="3E4B50"/>
            </a:solidFill>
            <a:latin typeface="Aptos" panose="020B0004020202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cdr:txBody>
    </cdr:sp>
  </cdr:relSizeAnchor>
  <cdr:relSizeAnchor xmlns:cdr="http://schemas.openxmlformats.org/drawingml/2006/chartDrawing">
    <cdr:from>
      <cdr:x>0.66378</cdr:x>
      <cdr:y>0.31912</cdr:y>
    </cdr:from>
    <cdr:to>
      <cdr:x>0.95721</cdr:x>
      <cdr:y>0.41317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3034802" y="875407"/>
          <a:ext cx="1341562" cy="25799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r"/>
          <a:r>
            <a:rPr lang="en-US" sz="1050" b="1" dirty="0">
              <a:solidFill>
                <a:schemeClr val="accent3"/>
              </a:solidFill>
              <a:latin typeface="Aptos" panose="020B0004020202020204" pitchFamily="34" charset="0"/>
              <a:ea typeface="Open Sans SemiBold" pitchFamily="2" charset="0"/>
              <a:cs typeface="Open Sans SemiBold" pitchFamily="2" charset="0"/>
            </a:rPr>
            <a:t>2034:</a:t>
          </a:r>
          <a:r>
            <a:rPr lang="en-US" sz="1050" b="0" dirty="0">
              <a:solidFill>
                <a:srgbClr val="3E4B50"/>
              </a:solidFill>
              <a:latin typeface="Aptos" panose="020B0004020202020204" pitchFamily="34" charset="0"/>
              <a:ea typeface="Open Sans SemiBold" pitchFamily="2" charset="0"/>
              <a:cs typeface="Open Sans SemiBold" pitchFamily="2" charset="0"/>
            </a:rPr>
            <a:t> </a:t>
          </a:r>
          <a:r>
            <a:rPr lang="en-US" sz="1050" b="0" dirty="0">
              <a:solidFill>
                <a:srgbClr val="3E4B50"/>
              </a:solidFill>
              <a:latin typeface="Aptos" panose="020B0004020202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130,665</a:t>
          </a:r>
          <a:r>
            <a:rPr lang="en-US" sz="1050" b="0" baseline="0" dirty="0">
              <a:solidFill>
                <a:srgbClr val="3E4B50"/>
              </a:solidFill>
              <a:latin typeface="Aptos" panose="020B0004020202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 GWh</a:t>
          </a:r>
          <a:endParaRPr lang="en-US" sz="1050" b="0" dirty="0">
            <a:solidFill>
              <a:srgbClr val="3E4B50"/>
            </a:solidFill>
            <a:latin typeface="Aptos" panose="020B0004020202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cdr:txBody>
    </cdr:sp>
  </cdr:relSizeAnchor>
  <cdr:relSizeAnchor xmlns:cdr="http://schemas.openxmlformats.org/drawingml/2006/chartDrawing">
    <cdr:from>
      <cdr:x>0.71667</cdr:x>
      <cdr:y>0.74926</cdr:y>
    </cdr:from>
    <cdr:to>
      <cdr:x>1</cdr:x>
      <cdr:y>0.84332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3276615" y="2055379"/>
          <a:ext cx="1295385" cy="25802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050" b="1" dirty="0">
              <a:solidFill>
                <a:schemeClr val="accent3"/>
              </a:solidFill>
              <a:latin typeface="Aptos" panose="020B0004020202020204" pitchFamily="34" charset="0"/>
              <a:ea typeface="Open Sans SemiBold" pitchFamily="2" charset="0"/>
              <a:cs typeface="Open Sans SemiBold" pitchFamily="2" charset="0"/>
            </a:rPr>
            <a:t>2025:</a:t>
          </a:r>
          <a:r>
            <a:rPr lang="en-US" sz="1050" b="0" dirty="0">
              <a:solidFill>
                <a:srgbClr val="3E4B50"/>
              </a:solidFill>
              <a:latin typeface="Aptos" panose="020B0004020202020204" pitchFamily="34" charset="0"/>
              <a:ea typeface="Open Sans SemiBold" pitchFamily="2" charset="0"/>
              <a:cs typeface="Open Sans SemiBold" pitchFamily="2" charset="0"/>
            </a:rPr>
            <a:t> </a:t>
          </a:r>
          <a:r>
            <a:rPr lang="en-US" sz="1050" b="0" dirty="0">
              <a:solidFill>
                <a:srgbClr val="3E4B50"/>
              </a:solidFill>
              <a:latin typeface="Aptos" panose="020B0004020202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117,262</a:t>
          </a:r>
          <a:r>
            <a:rPr lang="en-US" sz="1050" b="0" baseline="0" dirty="0">
              <a:solidFill>
                <a:srgbClr val="3E4B50"/>
              </a:solidFill>
              <a:latin typeface="Aptos" panose="020B0004020202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 GWh</a:t>
          </a:r>
          <a:endParaRPr lang="en-US" sz="1050" b="0" dirty="0">
            <a:solidFill>
              <a:srgbClr val="3E4B50"/>
            </a:solidFill>
            <a:latin typeface="Aptos" panose="020B0004020202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cdr:txBody>
    </cdr:sp>
  </cdr:relSizeAnchor>
  <cdr:relSizeAnchor xmlns:cdr="http://schemas.openxmlformats.org/drawingml/2006/chartDrawing">
    <cdr:from>
      <cdr:x>0.26622</cdr:x>
      <cdr:y>0.52801</cdr:y>
    </cdr:from>
    <cdr:to>
      <cdr:x>0.4012</cdr:x>
      <cdr:y>0.58811</cdr:y>
    </cdr:to>
    <cdr:sp macro="" textlink="">
      <cdr:nvSpPr>
        <cdr:cNvPr id="7" name="Rectangle 6"/>
        <cdr:cNvSpPr/>
      </cdr:nvSpPr>
      <cdr:spPr>
        <a:xfrm xmlns:a="http://schemas.openxmlformats.org/drawingml/2006/main">
          <a:off x="2150347" y="1483229"/>
          <a:ext cx="1090245" cy="168827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19679</cdr:x>
      <cdr:y>0.5</cdr:y>
    </cdr:from>
    <cdr:to>
      <cdr:x>0.46812</cdr:x>
      <cdr:y>0.65223</cdr:y>
    </cdr:to>
    <cdr:sp macro="" textlink="">
      <cdr:nvSpPr>
        <cdr:cNvPr id="8" name="TextBox 7"/>
        <cdr:cNvSpPr txBox="1"/>
      </cdr:nvSpPr>
      <cdr:spPr>
        <a:xfrm xmlns:a="http://schemas.openxmlformats.org/drawingml/2006/main">
          <a:off x="1589477" y="1404546"/>
          <a:ext cx="2191587" cy="4276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 anchor="ctr"/>
        <a:lstStyle xmlns:a="http://schemas.openxmlformats.org/drawingml/2006/main"/>
        <a:p xmlns:a="http://schemas.openxmlformats.org/drawingml/2006/main">
          <a:pPr algn="ctr"/>
          <a:r>
            <a:rPr lang="en-US" sz="1050" b="0" dirty="0">
              <a:solidFill>
                <a:schemeClr val="accent2">
                  <a:lumMod val="60000"/>
                  <a:lumOff val="40000"/>
                </a:schemeClr>
              </a:solidFill>
              <a:effectLst/>
              <a:latin typeface="Aptos" panose="020B0004020202020204" pitchFamily="34" charset="0"/>
              <a:ea typeface="Open Sans SemiBold" pitchFamily="2" charset="0"/>
              <a:cs typeface="Open Sans SemiBold" pitchFamily="2" charset="0"/>
            </a:rPr>
            <a:t>Historical Average</a:t>
          </a:r>
          <a:br>
            <a:rPr lang="en-US" sz="1050" b="1" dirty="0">
              <a:solidFill>
                <a:schemeClr val="accent5">
                  <a:lumMod val="60000"/>
                  <a:lumOff val="40000"/>
                </a:schemeClr>
              </a:solidFill>
              <a:effectLst/>
              <a:latin typeface="Aptos" panose="020B0004020202020204" pitchFamily="34" charset="0"/>
              <a:ea typeface="Open Sans SemiBold" pitchFamily="2" charset="0"/>
              <a:cs typeface="Open Sans SemiBold" pitchFamily="2" charset="0"/>
            </a:rPr>
          </a:br>
          <a:r>
            <a:rPr lang="en-US" sz="1050" b="0" dirty="0">
              <a:solidFill>
                <a:srgbClr val="3E4B50"/>
              </a:solidFill>
              <a:effectLst/>
              <a:latin typeface="Aptos" panose="020B0004020202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124,438</a:t>
          </a:r>
          <a:r>
            <a:rPr lang="en-US" sz="1050" b="0" baseline="0" dirty="0">
              <a:solidFill>
                <a:srgbClr val="3E4B50"/>
              </a:solidFill>
              <a:effectLst/>
              <a:latin typeface="Aptos" panose="020B0004020202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 GWh</a:t>
          </a:r>
          <a:endParaRPr lang="en-US" sz="1050" b="0" dirty="0">
            <a:solidFill>
              <a:srgbClr val="3E4B50"/>
            </a:solidFill>
            <a:latin typeface="Aptos" panose="020B0004020202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698" cy="480226"/>
          </a:xfrm>
          <a:prstGeom prst="rect">
            <a:avLst/>
          </a:prstGeom>
        </p:spPr>
        <p:txBody>
          <a:bodyPr vert="horz" lIns="95564" tIns="47782" rIns="95564" bIns="4778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832" y="0"/>
            <a:ext cx="3169698" cy="480226"/>
          </a:xfrm>
          <a:prstGeom prst="rect">
            <a:avLst/>
          </a:prstGeom>
        </p:spPr>
        <p:txBody>
          <a:bodyPr vert="horz" lIns="95564" tIns="47782" rIns="95564" bIns="47782" rtlCol="0"/>
          <a:lstStyle>
            <a:lvl1pPr algn="r">
              <a:defRPr sz="1300"/>
            </a:lvl1pPr>
          </a:lstStyle>
          <a:p>
            <a:fld id="{F87AAE7F-D37E-4830-9F5E-F36A5F180179}" type="datetimeFigureOut">
              <a:rPr lang="en-US" smtClean="0"/>
              <a:t>5/15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325"/>
            <a:ext cx="3169698" cy="480226"/>
          </a:xfrm>
          <a:prstGeom prst="rect">
            <a:avLst/>
          </a:prstGeom>
        </p:spPr>
        <p:txBody>
          <a:bodyPr vert="horz" lIns="95564" tIns="47782" rIns="95564" bIns="47782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832" y="9119325"/>
            <a:ext cx="3169698" cy="480226"/>
          </a:xfrm>
          <a:prstGeom prst="rect">
            <a:avLst/>
          </a:prstGeom>
        </p:spPr>
        <p:txBody>
          <a:bodyPr vert="horz" lIns="95564" tIns="47782" rIns="95564" bIns="47782" rtlCol="0" anchor="b"/>
          <a:lstStyle>
            <a:lvl1pPr algn="r">
              <a:defRPr sz="1300"/>
            </a:lvl1pPr>
          </a:lstStyle>
          <a:p>
            <a:fld id="{8FE02180-CD27-4473-AA37-00085480B5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1113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3" tIns="48332" rIns="96663" bIns="4833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8" y="0"/>
            <a:ext cx="3169920" cy="480060"/>
          </a:xfrm>
          <a:prstGeom prst="rect">
            <a:avLst/>
          </a:prstGeom>
        </p:spPr>
        <p:txBody>
          <a:bodyPr vert="horz" lIns="96663" tIns="48332" rIns="96663" bIns="48332" rtlCol="0"/>
          <a:lstStyle>
            <a:lvl1pPr algn="r">
              <a:defRPr sz="1300"/>
            </a:lvl1pPr>
          </a:lstStyle>
          <a:p>
            <a:fld id="{9EDDEDB6-CD57-44C2-AB19-AC7D3BB8FF8E}" type="datetimeFigureOut">
              <a:rPr lang="en-US" smtClean="0"/>
              <a:pPr/>
              <a:t>5/15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19138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3" tIns="48332" rIns="96663" bIns="4833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1" y="4560571"/>
            <a:ext cx="5852160" cy="4320540"/>
          </a:xfrm>
          <a:prstGeom prst="rect">
            <a:avLst/>
          </a:prstGeom>
        </p:spPr>
        <p:txBody>
          <a:bodyPr vert="horz" lIns="96663" tIns="48332" rIns="96663" bIns="4833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3"/>
            <a:ext cx="3169920" cy="480060"/>
          </a:xfrm>
          <a:prstGeom prst="rect">
            <a:avLst/>
          </a:prstGeom>
        </p:spPr>
        <p:txBody>
          <a:bodyPr vert="horz" lIns="96663" tIns="48332" rIns="96663" bIns="48332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8" y="9119473"/>
            <a:ext cx="3169920" cy="480060"/>
          </a:xfrm>
          <a:prstGeom prst="rect">
            <a:avLst/>
          </a:prstGeom>
        </p:spPr>
        <p:txBody>
          <a:bodyPr vert="horz" lIns="96663" tIns="48332" rIns="96663" bIns="48332" rtlCol="0" anchor="b"/>
          <a:lstStyle>
            <a:lvl1pPr algn="r">
              <a:defRPr sz="1300"/>
            </a:lvl1pPr>
          </a:lstStyle>
          <a:p>
            <a:fld id="{530677A1-BB48-42A6-9D40-5F3F87EA9D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8055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ptos" panose="020B00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0677A1-BB48-42A6-9D40-5F3F87EA9D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29401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0677A1-BB48-42A6-9D40-5F3F87EA9D2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91292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C30B19-850E-6514-E1D2-ADD384C9C4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AE5F55A-23E1-83CE-8DFD-6461F164D2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2BDAB05-4AA6-77E2-12E0-0A1ADB9197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00484C-26E9-7CBD-1FD9-7BA72691A5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0677A1-BB48-42A6-9D40-5F3F87EA9D2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86986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C4D577-6333-D1A7-0FD4-44A21088BA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89F9DBF-8FE2-846E-CDF1-149C1E738D2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343603-344B-14AF-E7AD-53B83BC587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D417D-AD50-0AC1-ABFE-5E43966F466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0677A1-BB48-42A6-9D40-5F3F87EA9D2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6075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Wholesale power prices averaged $126.40 per megawatt-hour (MWh) in the Real-Time Energy Market in February 2025, up 301% compared to the previous year.</a:t>
            </a:r>
            <a:r>
              <a:rPr lang="en-US" sz="1200" b="0" i="0" kern="1200" baseline="3000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1</a:t>
            </a:r>
            <a:r>
              <a:rPr lang="en-US" sz="1200" b="0" i="0" kern="1200">
                <a:solidFill>
                  <a:schemeClr val="tx1"/>
                </a:solidFill>
                <a:effectLst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Day-Ahead Energy Market averages were $130.39/MWh, up 256% from February 2024.</a:t>
            </a:r>
            <a:endParaRPr 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13247B-7F9F-49F6-A73F-30D0260F0B2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17478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0A90C1E-6A21-E023-AD28-9495D2F92B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F63C4B-EA1F-5CD0-5727-EA5DCDB722F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71677E7-85D5-028E-FA12-9E6FBA9DD6A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Not considering costs of new pipeline, likely on higher end to build in our reg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Lead time for gas turbine orders reaching up to 37 month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Commercial SMRs face resource, supply chain, labor bottle nec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Vogtle- that is even with federal loan guarantees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1CD02F-D589-E066-4844-E0EF2834656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13247B-7F9F-49F6-A73F-30D0260F0B2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94589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CEC3BA-630B-8127-1D49-C6C8030C9C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6A9D5F-4BD8-32CF-E2D0-53059D5680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96667C-837A-7829-8BFB-1E8DB52E3F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B8E019-C042-3551-9902-3E8A4A027E5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13247B-7F9F-49F6-A73F-30D0260F0B2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87665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815963-73BB-441A-13D8-37EA663C1D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5A585BF-5910-AB6A-691F-FC436AEB5BA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8853F7C-F671-CAC6-B87A-F8CBFCFE44A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4FC516-4DAC-F034-2ADE-019783D3A6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13247B-7F9F-49F6-A73F-30D0260F0B2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5106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linkedin.com/company/iso-new-england" TargetMode="External"/><Relationship Id="rId13" Type="http://schemas.openxmlformats.org/officeDocument/2006/relationships/image" Target="../media/image9.png"/><Relationship Id="rId3" Type="http://schemas.openxmlformats.org/officeDocument/2006/relationships/hyperlink" Target="https://x.com/isonewengland" TargetMode="External"/><Relationship Id="rId7" Type="http://schemas.openxmlformats.org/officeDocument/2006/relationships/image" Target="../media/image6.png"/><Relationship Id="rId12" Type="http://schemas.openxmlformats.org/officeDocument/2006/relationships/hyperlink" Target="https://apps.apple.com/us/app/iso-to-go/id555114876" TargetMode="External"/><Relationship Id="rId2" Type="http://schemas.openxmlformats.org/officeDocument/2006/relationships/hyperlink" Target="https://www.iso-ne.com/about/news-media/iso-to-go" TargetMode="External"/><Relationship Id="rId16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8.png"/><Relationship Id="rId5" Type="http://schemas.openxmlformats.org/officeDocument/2006/relationships/image" Target="../media/image4.png"/><Relationship Id="rId15" Type="http://schemas.openxmlformats.org/officeDocument/2006/relationships/image" Target="../media/image11.png"/><Relationship Id="rId10" Type="http://schemas.openxmlformats.org/officeDocument/2006/relationships/hyperlink" Target="https://play.google.com/store/apps/details?id=isone.com.isotogo.android" TargetMode="External"/><Relationship Id="rId4" Type="http://schemas.openxmlformats.org/officeDocument/2006/relationships/hyperlink" Target="https://www.iso-ne.com/isoexpress/" TargetMode="External"/><Relationship Id="rId9" Type="http://schemas.openxmlformats.org/officeDocument/2006/relationships/image" Target="../media/image7.png"/><Relationship Id="rId14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and location"/>
          <p:cNvSpPr>
            <a:spLocks noGrp="1"/>
          </p:cNvSpPr>
          <p:nvPr>
            <p:ph type="body" sz="quarter" idx="13" hasCustomPrompt="1"/>
          </p:nvPr>
        </p:nvSpPr>
        <p:spPr>
          <a:xfrm>
            <a:off x="3289002" y="196701"/>
            <a:ext cx="5559552" cy="228600"/>
          </a:xfrm>
        </p:spPr>
        <p:txBody>
          <a:bodyPr anchor="ctr">
            <a:noAutofit/>
          </a:bodyPr>
          <a:lstStyle>
            <a:lvl1pPr algn="r">
              <a:buNone/>
              <a:defRPr sz="1100" kern="0" cap="all" spc="300" baseline="0">
                <a:solidFill>
                  <a:srgbClr val="000000"/>
                </a:solidFill>
              </a:defRPr>
            </a:lvl1pPr>
            <a:lvl2pPr>
              <a:buNone/>
              <a:defRPr sz="1800">
                <a:solidFill>
                  <a:schemeClr val="bg1"/>
                </a:solidFill>
              </a:defRPr>
            </a:lvl2pPr>
            <a:lvl3pPr>
              <a:buNone/>
              <a:defRPr sz="1800">
                <a:solidFill>
                  <a:schemeClr val="bg1"/>
                </a:solidFill>
              </a:defRPr>
            </a:lvl3pPr>
            <a:lvl4pPr>
              <a:buNone/>
              <a:defRPr sz="1800">
                <a:solidFill>
                  <a:schemeClr val="bg1"/>
                </a:solidFill>
              </a:defRPr>
            </a:lvl4pPr>
            <a:lvl5pPr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ATE ALL CAPS  |   LOCATION ALL CAPS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303533" y="1885516"/>
            <a:ext cx="5559552" cy="0"/>
          </a:xfrm>
          <a:prstGeom prst="line">
            <a:avLst/>
          </a:prstGeom>
          <a:ln w="12700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27"/>
          <p:cNvSpPr>
            <a:spLocks noGrp="1"/>
          </p:cNvSpPr>
          <p:nvPr>
            <p:ph type="body" sz="quarter" idx="17" hasCustomPrompt="1"/>
          </p:nvPr>
        </p:nvSpPr>
        <p:spPr>
          <a:xfrm>
            <a:off x="3289002" y="2952750"/>
            <a:ext cx="5559552" cy="285750"/>
          </a:xfrm>
        </p:spPr>
        <p:txBody>
          <a:bodyPr wrap="none" lIns="0" tIns="0" rIns="0" bIns="0">
            <a:normAutofit/>
          </a:bodyPr>
          <a:lstStyle>
            <a:lvl1pPr algn="r">
              <a:buNone/>
              <a:defRPr sz="2400" i="0" baseline="0">
                <a:solidFill>
                  <a:schemeClr val="accent1"/>
                </a:solidFill>
              </a:defRPr>
            </a:lvl1pPr>
            <a:lvl2pPr algn="l">
              <a:buNone/>
              <a:defRPr/>
            </a:lvl2pPr>
            <a:lvl3pPr algn="l">
              <a:buNone/>
              <a:defRPr/>
            </a:lvl3pPr>
            <a:lvl4pPr algn="l">
              <a:buNone/>
              <a:defRPr/>
            </a:lvl4pPr>
            <a:lvl5pPr algn="l">
              <a:buNone/>
              <a:defRPr/>
            </a:lvl5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20" name="Text Placeholder 27"/>
          <p:cNvSpPr>
            <a:spLocks noGrp="1"/>
          </p:cNvSpPr>
          <p:nvPr>
            <p:ph type="body" sz="quarter" idx="18" hasCustomPrompt="1"/>
          </p:nvPr>
        </p:nvSpPr>
        <p:spPr>
          <a:xfrm>
            <a:off x="3289002" y="3303625"/>
            <a:ext cx="5559552" cy="285750"/>
          </a:xfrm>
        </p:spPr>
        <p:txBody>
          <a:bodyPr wrap="none" lIns="0" tIns="0" rIns="0" bIns="0">
            <a:normAutofit/>
          </a:bodyPr>
          <a:lstStyle>
            <a:lvl1pPr algn="r">
              <a:buNone/>
              <a:defRPr sz="1050" i="0" kern="0" cap="all" spc="300" baseline="0">
                <a:solidFill>
                  <a:srgbClr val="000000"/>
                </a:solidFill>
              </a:defRPr>
            </a:lvl1pPr>
            <a:lvl2pPr algn="l">
              <a:buNone/>
              <a:defRPr/>
            </a:lvl2pPr>
            <a:lvl3pPr algn="l">
              <a:buNone/>
              <a:defRPr/>
            </a:lvl3pPr>
            <a:lvl4pPr algn="l">
              <a:buNone/>
              <a:defRPr/>
            </a:lvl4pPr>
            <a:lvl5pPr algn="l">
              <a:buNone/>
              <a:defRPr/>
            </a:lvl5pPr>
          </a:lstStyle>
          <a:p>
            <a:pPr lvl="0"/>
            <a:r>
              <a:rPr lang="en-US" dirty="0"/>
              <a:t>PRESENTER TITLE ALL CAPS</a:t>
            </a:r>
          </a:p>
        </p:txBody>
      </p:sp>
      <p:sp>
        <p:nvSpPr>
          <p:cNvPr id="17" name="Text Placeholder 27"/>
          <p:cNvSpPr>
            <a:spLocks noGrp="1"/>
          </p:cNvSpPr>
          <p:nvPr>
            <p:ph type="body" sz="quarter" idx="16" hasCustomPrompt="1"/>
          </p:nvPr>
        </p:nvSpPr>
        <p:spPr>
          <a:xfrm>
            <a:off x="3289002" y="2056531"/>
            <a:ext cx="5559552" cy="650790"/>
          </a:xfrm>
        </p:spPr>
        <p:txBody>
          <a:bodyPr wrap="square" lIns="0" tIns="0" rIns="0" bIns="0">
            <a:normAutofit/>
          </a:bodyPr>
          <a:lstStyle>
            <a:lvl1pPr marL="0" indent="0" algn="l">
              <a:buNone/>
              <a:defRPr sz="2400" i="1" baseline="0">
                <a:solidFill>
                  <a:srgbClr val="000000"/>
                </a:solidFill>
                <a:latin typeface="Aptos" panose="020B0004020202020204" pitchFamily="34" charset="0"/>
              </a:defRPr>
            </a:lvl1pPr>
            <a:lvl2pPr algn="l">
              <a:buNone/>
              <a:defRPr/>
            </a:lvl2pPr>
            <a:lvl3pPr algn="l">
              <a:buNone/>
              <a:defRPr/>
            </a:lvl3pPr>
            <a:lvl4pPr algn="l">
              <a:buNone/>
              <a:defRPr/>
            </a:lvl4pPr>
            <a:lvl5pPr algn="l">
              <a:buNone/>
              <a:defRPr/>
            </a:lvl5pPr>
          </a:lstStyle>
          <a:p>
            <a:pPr lvl="0"/>
            <a:r>
              <a:rPr lang="en-US" dirty="0"/>
              <a:t>Subtitle of Presentation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3276600" y="514350"/>
            <a:ext cx="5562600" cy="1200150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3400" baseline="0">
                <a:solidFill>
                  <a:schemeClr val="accent1"/>
                </a:solidFill>
                <a:latin typeface="Aptos" panose="020B0004020202020204" pitchFamily="34" charset="0"/>
              </a:defRPr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</a:lstStyle>
          <a:p>
            <a:pPr lvl="0"/>
            <a:r>
              <a:rPr lang="en-US" dirty="0"/>
              <a:t>Title of Presentation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378980" y="1342229"/>
            <a:ext cx="2287543" cy="108617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0"/>
          </p:nvPr>
        </p:nvSpPr>
        <p:spPr>
          <a:xfrm>
            <a:off x="457200" y="1053846"/>
            <a:ext cx="8229600" cy="3575304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57150"/>
            <a:ext cx="8229600" cy="857250"/>
          </a:xfrm>
        </p:spPr>
        <p:txBody>
          <a:bodyPr>
            <a:normAutofit/>
          </a:bodyPr>
          <a:lstStyle>
            <a:lvl1pPr algn="l">
              <a:defRPr sz="320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content (L) &amp; picture (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6132"/>
            <a:ext cx="4038600" cy="3575054"/>
          </a:xfrm>
        </p:spPr>
        <p:txBody>
          <a:bodyPr/>
          <a:lstStyle>
            <a:lvl1pPr>
              <a:defRPr sz="2400">
                <a:solidFill>
                  <a:srgbClr val="000000"/>
                </a:solidFill>
              </a:defRPr>
            </a:lvl1pPr>
            <a:lvl2pPr>
              <a:defRPr sz="2000">
                <a:solidFill>
                  <a:srgbClr val="000000"/>
                </a:solidFill>
              </a:defRPr>
            </a:lvl2pPr>
            <a:lvl3pPr>
              <a:defRPr sz="1800">
                <a:solidFill>
                  <a:srgbClr val="000000"/>
                </a:solidFill>
              </a:defRPr>
            </a:lvl3pPr>
            <a:lvl4pPr>
              <a:defRPr sz="1600">
                <a:solidFill>
                  <a:srgbClr val="000000"/>
                </a:solidFill>
              </a:defRPr>
            </a:lvl4pPr>
            <a:lvl5pPr>
              <a:defRPr sz="1600">
                <a:solidFill>
                  <a:srgbClr val="00000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645152" y="1056132"/>
            <a:ext cx="4041648" cy="3575304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picture (L) &amp; content (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48200" y="1053846"/>
            <a:ext cx="4038600" cy="3575304"/>
          </a:xfrm>
        </p:spPr>
        <p:txBody>
          <a:bodyPr/>
          <a:lstStyle>
            <a:lvl1pPr>
              <a:defRPr sz="2400">
                <a:solidFill>
                  <a:srgbClr val="000000"/>
                </a:solidFill>
              </a:defRPr>
            </a:lvl1pPr>
            <a:lvl2pPr>
              <a:defRPr sz="2000">
                <a:solidFill>
                  <a:srgbClr val="000000"/>
                </a:solidFill>
              </a:defRPr>
            </a:lvl2pPr>
            <a:lvl3pPr>
              <a:defRPr sz="1800">
                <a:solidFill>
                  <a:srgbClr val="000000"/>
                </a:solidFill>
              </a:defRPr>
            </a:lvl3pPr>
            <a:lvl4pPr>
              <a:defRPr sz="1600">
                <a:solidFill>
                  <a:srgbClr val="000000"/>
                </a:solidFill>
              </a:defRPr>
            </a:lvl4pPr>
            <a:lvl5pPr>
              <a:defRPr sz="1600">
                <a:solidFill>
                  <a:srgbClr val="00000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57200" y="1053846"/>
            <a:ext cx="4041648" cy="357555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57150"/>
            <a:ext cx="8229600" cy="857250"/>
          </a:xfrm>
        </p:spPr>
        <p:txBody>
          <a:bodyPr>
            <a:normAutofit/>
          </a:bodyPr>
          <a:lstStyle>
            <a:lvl1pPr algn="l">
              <a:defRPr sz="320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content (L) &amp; chart (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6132"/>
            <a:ext cx="4038600" cy="3574272"/>
          </a:xfrm>
        </p:spPr>
        <p:txBody>
          <a:bodyPr/>
          <a:lstStyle>
            <a:lvl1pPr>
              <a:defRPr sz="2400">
                <a:solidFill>
                  <a:srgbClr val="000000"/>
                </a:solidFill>
              </a:defRPr>
            </a:lvl1pPr>
            <a:lvl2pPr>
              <a:defRPr sz="2000">
                <a:solidFill>
                  <a:srgbClr val="000000"/>
                </a:solidFill>
              </a:defRPr>
            </a:lvl2pPr>
            <a:lvl3pPr>
              <a:defRPr sz="1800">
                <a:solidFill>
                  <a:srgbClr val="000000"/>
                </a:solidFill>
              </a:defRPr>
            </a:lvl3pPr>
            <a:lvl4pPr>
              <a:defRPr sz="1600">
                <a:solidFill>
                  <a:srgbClr val="000000"/>
                </a:solidFill>
              </a:defRPr>
            </a:lvl4pPr>
            <a:lvl5pPr>
              <a:defRPr sz="1600">
                <a:solidFill>
                  <a:srgbClr val="00000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645152" y="1056132"/>
            <a:ext cx="4041648" cy="357301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chart (L) &amp; content (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48200" y="1076706"/>
            <a:ext cx="4038600" cy="3575304"/>
          </a:xfrm>
        </p:spPr>
        <p:txBody>
          <a:bodyPr/>
          <a:lstStyle>
            <a:lvl1pPr>
              <a:defRPr sz="2400">
                <a:solidFill>
                  <a:srgbClr val="000000"/>
                </a:solidFill>
              </a:defRPr>
            </a:lvl1pPr>
            <a:lvl2pPr>
              <a:defRPr sz="2000">
                <a:solidFill>
                  <a:srgbClr val="000000"/>
                </a:solidFill>
              </a:defRPr>
            </a:lvl2pPr>
            <a:lvl3pPr>
              <a:defRPr sz="1800">
                <a:solidFill>
                  <a:srgbClr val="000000"/>
                </a:solidFill>
              </a:defRPr>
            </a:lvl3pPr>
            <a:lvl4pPr>
              <a:defRPr sz="1600">
                <a:solidFill>
                  <a:srgbClr val="000000"/>
                </a:solidFill>
              </a:defRPr>
            </a:lvl4pPr>
            <a:lvl5pPr>
              <a:defRPr sz="1600">
                <a:solidFill>
                  <a:srgbClr val="00000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57200" y="1076707"/>
            <a:ext cx="4041648" cy="3574049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content (L) &amp; table (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6132"/>
            <a:ext cx="4038600" cy="3575054"/>
          </a:xfrm>
        </p:spPr>
        <p:txBody>
          <a:bodyPr/>
          <a:lstStyle>
            <a:lvl1pPr>
              <a:defRPr sz="2400">
                <a:solidFill>
                  <a:srgbClr val="000000"/>
                </a:solidFill>
              </a:defRPr>
            </a:lvl1pPr>
            <a:lvl2pPr>
              <a:defRPr sz="2000">
                <a:solidFill>
                  <a:srgbClr val="000000"/>
                </a:solidFill>
              </a:defRPr>
            </a:lvl2pPr>
            <a:lvl3pPr>
              <a:defRPr sz="1800">
                <a:solidFill>
                  <a:srgbClr val="000000"/>
                </a:solidFill>
              </a:defRPr>
            </a:lvl3pPr>
            <a:lvl4pPr>
              <a:defRPr sz="1600">
                <a:solidFill>
                  <a:srgbClr val="000000"/>
                </a:solidFill>
              </a:defRPr>
            </a:lvl4pPr>
            <a:lvl5pPr>
              <a:defRPr sz="1600">
                <a:solidFill>
                  <a:srgbClr val="00000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645152" y="1056132"/>
            <a:ext cx="4041648" cy="3575304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table (L) &amp; content (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48200" y="1056132"/>
            <a:ext cx="4038600" cy="3575304"/>
          </a:xfrm>
        </p:spPr>
        <p:txBody>
          <a:bodyPr/>
          <a:lstStyle>
            <a:lvl1pPr>
              <a:defRPr sz="2400">
                <a:solidFill>
                  <a:srgbClr val="000000"/>
                </a:solidFill>
              </a:defRPr>
            </a:lvl1pPr>
            <a:lvl2pPr>
              <a:defRPr sz="2000">
                <a:solidFill>
                  <a:srgbClr val="000000"/>
                </a:solidFill>
              </a:defRPr>
            </a:lvl2pPr>
            <a:lvl3pPr>
              <a:defRPr sz="1800">
                <a:solidFill>
                  <a:srgbClr val="000000"/>
                </a:solidFill>
              </a:defRPr>
            </a:lvl3pPr>
            <a:lvl4pPr>
              <a:defRPr sz="1600">
                <a:solidFill>
                  <a:srgbClr val="000000"/>
                </a:solidFill>
              </a:defRPr>
            </a:lvl4pPr>
            <a:lvl5pPr>
              <a:defRPr sz="1600">
                <a:solidFill>
                  <a:srgbClr val="00000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57200" y="1056132"/>
            <a:ext cx="4041648" cy="357555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content (L) &amp; smart art graphic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6132"/>
            <a:ext cx="4038600" cy="3572768"/>
          </a:xfrm>
        </p:spPr>
        <p:txBody>
          <a:bodyPr/>
          <a:lstStyle>
            <a:lvl1pPr>
              <a:defRPr sz="2400">
                <a:solidFill>
                  <a:srgbClr val="000000"/>
                </a:solidFill>
              </a:defRPr>
            </a:lvl1pPr>
            <a:lvl2pPr>
              <a:defRPr sz="2000">
                <a:solidFill>
                  <a:srgbClr val="000000"/>
                </a:solidFill>
              </a:defRPr>
            </a:lvl2pPr>
            <a:lvl3pPr>
              <a:defRPr sz="1800">
                <a:solidFill>
                  <a:srgbClr val="000000"/>
                </a:solidFill>
              </a:defRPr>
            </a:lvl3pPr>
            <a:lvl4pPr>
              <a:defRPr sz="1600">
                <a:solidFill>
                  <a:srgbClr val="000000"/>
                </a:solidFill>
              </a:defRPr>
            </a:lvl4pPr>
            <a:lvl5pPr>
              <a:defRPr sz="1600">
                <a:solidFill>
                  <a:srgbClr val="00000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martArt Placeholder 8"/>
          <p:cNvSpPr>
            <a:spLocks noGrp="1"/>
          </p:cNvSpPr>
          <p:nvPr>
            <p:ph type="dgm" sz="quarter" idx="13"/>
          </p:nvPr>
        </p:nvSpPr>
        <p:spPr>
          <a:xfrm>
            <a:off x="4645152" y="1056132"/>
            <a:ext cx="4041648" cy="357301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SmartArt graphic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smart art graphic (L) &amp; content (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48200" y="1056132"/>
            <a:ext cx="4038600" cy="3573018"/>
          </a:xfrm>
        </p:spPr>
        <p:txBody>
          <a:bodyPr/>
          <a:lstStyle>
            <a:lvl1pPr>
              <a:defRPr sz="2400">
                <a:solidFill>
                  <a:srgbClr val="000000"/>
                </a:solidFill>
              </a:defRPr>
            </a:lvl1pPr>
            <a:lvl2pPr>
              <a:defRPr sz="2000">
                <a:solidFill>
                  <a:srgbClr val="000000"/>
                </a:solidFill>
              </a:defRPr>
            </a:lvl2pPr>
            <a:lvl3pPr>
              <a:defRPr sz="1800">
                <a:solidFill>
                  <a:srgbClr val="000000"/>
                </a:solidFill>
              </a:defRPr>
            </a:lvl3pPr>
            <a:lvl4pPr>
              <a:defRPr sz="1600">
                <a:solidFill>
                  <a:srgbClr val="000000"/>
                </a:solidFill>
              </a:defRPr>
            </a:lvl4pPr>
            <a:lvl5pPr>
              <a:defRPr sz="1600">
                <a:solidFill>
                  <a:srgbClr val="00000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martArt Placeholder 8"/>
          <p:cNvSpPr>
            <a:spLocks noGrp="1"/>
          </p:cNvSpPr>
          <p:nvPr>
            <p:ph type="dgm" sz="quarter" idx="13"/>
          </p:nvPr>
        </p:nvSpPr>
        <p:spPr>
          <a:xfrm>
            <a:off x="457200" y="1056132"/>
            <a:ext cx="4041648" cy="3573269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SmartArt graphic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content (L) &amp; media (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56132"/>
            <a:ext cx="4038600" cy="3572768"/>
          </a:xfrm>
        </p:spPr>
        <p:txBody>
          <a:bodyPr/>
          <a:lstStyle>
            <a:lvl1pPr>
              <a:defRPr sz="2400">
                <a:solidFill>
                  <a:srgbClr val="000000"/>
                </a:solidFill>
              </a:defRPr>
            </a:lvl1pPr>
            <a:lvl2pPr>
              <a:defRPr sz="2000">
                <a:solidFill>
                  <a:srgbClr val="000000"/>
                </a:solidFill>
              </a:defRPr>
            </a:lvl2pPr>
            <a:lvl3pPr>
              <a:defRPr sz="1800">
                <a:solidFill>
                  <a:srgbClr val="000000"/>
                </a:solidFill>
              </a:defRPr>
            </a:lvl3pPr>
            <a:lvl4pPr>
              <a:defRPr sz="1600">
                <a:solidFill>
                  <a:srgbClr val="000000"/>
                </a:solidFill>
              </a:defRPr>
            </a:lvl4pPr>
            <a:lvl5pPr>
              <a:defRPr sz="1600">
                <a:solidFill>
                  <a:srgbClr val="00000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Media Placeholder 6"/>
          <p:cNvSpPr>
            <a:spLocks noGrp="1"/>
          </p:cNvSpPr>
          <p:nvPr>
            <p:ph type="media" sz="quarter" idx="13"/>
          </p:nvPr>
        </p:nvSpPr>
        <p:spPr>
          <a:xfrm>
            <a:off x="4645152" y="1056132"/>
            <a:ext cx="4041648" cy="357301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transitional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543051"/>
            <a:ext cx="7772400" cy="1021556"/>
          </a:xfrm>
        </p:spPr>
        <p:txBody>
          <a:bodyPr anchor="b"/>
          <a:lstStyle>
            <a:lvl1pPr algn="l">
              <a:defRPr sz="3200" b="1" cap="all" baseline="0">
                <a:solidFill>
                  <a:schemeClr val="accent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 dirty="0"/>
              <a:t>transitional slide Title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2571751"/>
            <a:ext cx="7772400" cy="1125140"/>
          </a:xfrm>
        </p:spPr>
        <p:txBody>
          <a:bodyPr anchor="t"/>
          <a:lstStyle>
            <a:lvl1pPr marL="0" indent="0">
              <a:buNone/>
              <a:defRPr sz="2400" i="1" baseline="0">
                <a:solidFill>
                  <a:srgbClr val="000000"/>
                </a:solidFill>
                <a:latin typeface="Aptos" panose="020B0004020202020204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/>
              <a:t>Transitional Slide Subtitle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34400" y="4774411"/>
            <a:ext cx="381000" cy="197639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4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media (L) &amp; content (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48200" y="1056132"/>
            <a:ext cx="4038600" cy="3573018"/>
          </a:xfrm>
        </p:spPr>
        <p:txBody>
          <a:bodyPr/>
          <a:lstStyle>
            <a:lvl1pPr>
              <a:defRPr sz="2400">
                <a:solidFill>
                  <a:srgbClr val="000000"/>
                </a:solidFill>
              </a:defRPr>
            </a:lvl1pPr>
            <a:lvl2pPr>
              <a:defRPr sz="2000">
                <a:solidFill>
                  <a:srgbClr val="000000"/>
                </a:solidFill>
              </a:defRPr>
            </a:lvl2pPr>
            <a:lvl3pPr>
              <a:defRPr sz="1800">
                <a:solidFill>
                  <a:srgbClr val="000000"/>
                </a:solidFill>
              </a:defRPr>
            </a:lvl3pPr>
            <a:lvl4pPr>
              <a:defRPr sz="1600">
                <a:solidFill>
                  <a:srgbClr val="000000"/>
                </a:solidFill>
              </a:defRPr>
            </a:lvl4pPr>
            <a:lvl5pPr>
              <a:defRPr sz="1600">
                <a:solidFill>
                  <a:srgbClr val="00000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Media Placeholder 6"/>
          <p:cNvSpPr>
            <a:spLocks noGrp="1"/>
          </p:cNvSpPr>
          <p:nvPr>
            <p:ph type="media" sz="quarter" idx="13"/>
          </p:nvPr>
        </p:nvSpPr>
        <p:spPr>
          <a:xfrm>
            <a:off x="457200" y="1056132"/>
            <a:ext cx="4041648" cy="3573269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medi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o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1657351"/>
            <a:ext cx="7772400" cy="1021556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3600" b="1" cap="none"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Topic Title (36pt)</a:t>
            </a:r>
          </a:p>
        </p:txBody>
      </p:sp>
      <p:sp>
        <p:nvSpPr>
          <p:cNvPr id="5" name="Subtitle 1.5"/>
          <p:cNvSpPr>
            <a:spLocks noGrp="1"/>
          </p:cNvSpPr>
          <p:nvPr>
            <p:ph type="body" idx="1" hasCustomPrompt="1"/>
          </p:nvPr>
        </p:nvSpPr>
        <p:spPr>
          <a:xfrm>
            <a:off x="685800" y="2686051"/>
            <a:ext cx="7772400" cy="112514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i="1" baseline="0">
                <a:solidFill>
                  <a:srgbClr val="000000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/>
              <a:t>Subtitle of Topic (optional)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1706880" y="4324350"/>
            <a:ext cx="7360920" cy="290393"/>
          </a:xfrm>
          <a:prstGeom prst="roundRect">
            <a:avLst>
              <a:gd name="adj" fmla="val 8861"/>
            </a:avLst>
          </a:prstGeom>
        </p:spPr>
        <p:txBody>
          <a:bodyPr/>
          <a:lstStyle>
            <a:lvl1pPr algn="r">
              <a:defRPr i="1">
                <a:solidFill>
                  <a:srgbClr val="000000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 dirty="0"/>
              <a:t>Optional: use this for references or other footnotes (18pt )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8534400" y="4774411"/>
            <a:ext cx="381000" cy="19763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245754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32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000" y="4945861"/>
            <a:ext cx="381000" cy="197639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4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09489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000" y="4945861"/>
            <a:ext cx="381000" cy="197639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4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0287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9"/>
            <a:ext cx="6858000" cy="1241821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37" indent="0" algn="ctr">
              <a:buNone/>
              <a:defRPr sz="1500"/>
            </a:lvl2pPr>
            <a:lvl3pPr marL="685873" indent="0" algn="ctr">
              <a:buNone/>
              <a:defRPr sz="1350"/>
            </a:lvl3pPr>
            <a:lvl4pPr marL="1028810" indent="0" algn="ctr">
              <a:buNone/>
              <a:defRPr sz="1200"/>
            </a:lvl4pPr>
            <a:lvl5pPr marL="1371746" indent="0" algn="ctr">
              <a:buNone/>
              <a:defRPr sz="1200"/>
            </a:lvl5pPr>
            <a:lvl6pPr marL="1714683" indent="0" algn="ctr">
              <a:buNone/>
              <a:defRPr sz="1200"/>
            </a:lvl6pPr>
            <a:lvl7pPr marL="2057619" indent="0" algn="ctr">
              <a:buNone/>
              <a:defRPr sz="1200"/>
            </a:lvl7pPr>
            <a:lvl8pPr marL="2400556" indent="0" algn="ctr">
              <a:buNone/>
              <a:defRPr sz="1200"/>
            </a:lvl8pPr>
            <a:lvl9pPr marL="2743493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4968452-953C-4262-81E2-591F27B79876}" type="datetime1">
              <a:rPr lang="en-US" smtClean="0"/>
              <a:pPr>
                <a:defRPr/>
              </a:pPr>
              <a:t>5/1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6B0AC04-36D5-46EC-97DA-3EFB6C3A474B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373097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D2E04FA-7743-4D5B-9282-18D2105B3DD8}" type="datetime1">
              <a:rPr lang="en-US" smtClean="0"/>
              <a:pPr>
                <a:defRPr/>
              </a:pPr>
              <a:t>5/1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C20907-A64A-41DA-8333-5FE4DE576329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520976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3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7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81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7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6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61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55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49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AEEA767-EBD9-4C70-9162-7D6AE5A05BC3}" type="datetime1">
              <a:rPr lang="en-US" smtClean="0"/>
              <a:pPr>
                <a:defRPr/>
              </a:pPr>
              <a:t>5/1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5A09E91-37DA-4E50-AB16-355CC2E485A4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819894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6BB16BC-7A67-4DF0-9B63-7F80F0D23F91}" type="datetime1">
              <a:rPr lang="en-US" smtClean="0"/>
              <a:pPr>
                <a:defRPr/>
              </a:pPr>
              <a:t>5/1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64D6D95-C71B-4CF3-B72D-D19D8DEC9EF6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771837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1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37" indent="0">
              <a:buNone/>
              <a:defRPr sz="1500" b="1"/>
            </a:lvl2pPr>
            <a:lvl3pPr marL="685873" indent="0">
              <a:buNone/>
              <a:defRPr sz="1350" b="1"/>
            </a:lvl3pPr>
            <a:lvl4pPr marL="1028810" indent="0">
              <a:buNone/>
              <a:defRPr sz="1200" b="1"/>
            </a:lvl4pPr>
            <a:lvl5pPr marL="1371746" indent="0">
              <a:buNone/>
              <a:defRPr sz="1200" b="1"/>
            </a:lvl5pPr>
            <a:lvl6pPr marL="1714683" indent="0">
              <a:buNone/>
              <a:defRPr sz="1200" b="1"/>
            </a:lvl6pPr>
            <a:lvl7pPr marL="2057619" indent="0">
              <a:buNone/>
              <a:defRPr sz="1200" b="1"/>
            </a:lvl7pPr>
            <a:lvl8pPr marL="2400556" indent="0">
              <a:buNone/>
              <a:defRPr sz="1200" b="1"/>
            </a:lvl8pPr>
            <a:lvl9pPr marL="2743493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1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37" indent="0">
              <a:buNone/>
              <a:defRPr sz="1500" b="1"/>
            </a:lvl2pPr>
            <a:lvl3pPr marL="685873" indent="0">
              <a:buNone/>
              <a:defRPr sz="1350" b="1"/>
            </a:lvl3pPr>
            <a:lvl4pPr marL="1028810" indent="0">
              <a:buNone/>
              <a:defRPr sz="1200" b="1"/>
            </a:lvl4pPr>
            <a:lvl5pPr marL="1371746" indent="0">
              <a:buNone/>
              <a:defRPr sz="1200" b="1"/>
            </a:lvl5pPr>
            <a:lvl6pPr marL="1714683" indent="0">
              <a:buNone/>
              <a:defRPr sz="1200" b="1"/>
            </a:lvl6pPr>
            <a:lvl7pPr marL="2057619" indent="0">
              <a:buNone/>
              <a:defRPr sz="1200" b="1"/>
            </a:lvl7pPr>
            <a:lvl8pPr marL="2400556" indent="0">
              <a:buNone/>
              <a:defRPr sz="1200" b="1"/>
            </a:lvl8pPr>
            <a:lvl9pPr marL="2743493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1DFAD14-57A0-4694-9DA4-035C3E559A9B}" type="datetime1">
              <a:rPr lang="en-US" smtClean="0"/>
              <a:pPr>
                <a:defRPr/>
              </a:pPr>
              <a:t>5/15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B7A04BF-FE61-4901-82CA-0953FF4FA379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571192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0E823E4-5D57-4C5A-B840-E56C8EE459CA}" type="datetime1">
              <a:rPr lang="en-US" smtClean="0"/>
              <a:pPr>
                <a:defRPr/>
              </a:pPr>
              <a:t>5/15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7577481-8980-403C-B55F-D237416099C5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357401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57150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457200" y="1051322"/>
            <a:ext cx="8229600" cy="36095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782BF33-2EDE-4734-88BB-3E4A60841B0F}" type="datetime1">
              <a:rPr lang="en-US" smtClean="0"/>
              <a:pPr>
                <a:defRPr/>
              </a:pPr>
              <a:t>5/15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E2062A6-5725-4301-89BC-2845B72E7764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12562926"/>
      </p:ext>
    </p:extLst>
  </p:cSld>
  <p:clrMapOvr>
    <a:masterClrMapping/>
  </p:clrMapOvr>
  <p:hf sldNum="0"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37" indent="0">
              <a:buNone/>
              <a:defRPr sz="1050"/>
            </a:lvl2pPr>
            <a:lvl3pPr marL="685873" indent="0">
              <a:buNone/>
              <a:defRPr sz="900"/>
            </a:lvl3pPr>
            <a:lvl4pPr marL="1028810" indent="0">
              <a:buNone/>
              <a:defRPr sz="750"/>
            </a:lvl4pPr>
            <a:lvl5pPr marL="1371746" indent="0">
              <a:buNone/>
              <a:defRPr sz="750"/>
            </a:lvl5pPr>
            <a:lvl6pPr marL="1714683" indent="0">
              <a:buNone/>
              <a:defRPr sz="750"/>
            </a:lvl6pPr>
            <a:lvl7pPr marL="2057619" indent="0">
              <a:buNone/>
              <a:defRPr sz="750"/>
            </a:lvl7pPr>
            <a:lvl8pPr marL="2400556" indent="0">
              <a:buNone/>
              <a:defRPr sz="750"/>
            </a:lvl8pPr>
            <a:lvl9pPr marL="2743493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FF18775-9EE8-4798-95E3-379D67D9FC55}" type="datetime1">
              <a:rPr lang="en-US" smtClean="0"/>
              <a:pPr>
                <a:defRPr/>
              </a:pPr>
              <a:t>5/1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3F56644-3A74-415A-B106-CB873DDCB6DE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898834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37" indent="0">
              <a:buNone/>
              <a:defRPr sz="2100"/>
            </a:lvl2pPr>
            <a:lvl3pPr marL="685873" indent="0">
              <a:buNone/>
              <a:defRPr sz="1800"/>
            </a:lvl3pPr>
            <a:lvl4pPr marL="1028810" indent="0">
              <a:buNone/>
              <a:defRPr sz="1500"/>
            </a:lvl4pPr>
            <a:lvl5pPr marL="1371746" indent="0">
              <a:buNone/>
              <a:defRPr sz="1500"/>
            </a:lvl5pPr>
            <a:lvl6pPr marL="1714683" indent="0">
              <a:buNone/>
              <a:defRPr sz="1500"/>
            </a:lvl6pPr>
            <a:lvl7pPr marL="2057619" indent="0">
              <a:buNone/>
              <a:defRPr sz="1500"/>
            </a:lvl7pPr>
            <a:lvl8pPr marL="2400556" indent="0">
              <a:buNone/>
              <a:defRPr sz="1500"/>
            </a:lvl8pPr>
            <a:lvl9pPr marL="2743493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37" indent="0">
              <a:buNone/>
              <a:defRPr sz="1050"/>
            </a:lvl2pPr>
            <a:lvl3pPr marL="685873" indent="0">
              <a:buNone/>
              <a:defRPr sz="900"/>
            </a:lvl3pPr>
            <a:lvl4pPr marL="1028810" indent="0">
              <a:buNone/>
              <a:defRPr sz="750"/>
            </a:lvl4pPr>
            <a:lvl5pPr marL="1371746" indent="0">
              <a:buNone/>
              <a:defRPr sz="750"/>
            </a:lvl5pPr>
            <a:lvl6pPr marL="1714683" indent="0">
              <a:buNone/>
              <a:defRPr sz="750"/>
            </a:lvl6pPr>
            <a:lvl7pPr marL="2057619" indent="0">
              <a:buNone/>
              <a:defRPr sz="750"/>
            </a:lvl7pPr>
            <a:lvl8pPr marL="2400556" indent="0">
              <a:buNone/>
              <a:defRPr sz="750"/>
            </a:lvl8pPr>
            <a:lvl9pPr marL="2743493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CFE452A-D9DE-4C0C-9E8B-9A9334108807}" type="datetime1">
              <a:rPr lang="en-US" smtClean="0"/>
              <a:pPr>
                <a:defRPr/>
              </a:pPr>
              <a:t>5/15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8587C38-598F-4697-A751-AD09057FFE32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5617948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D04AC21-42FB-482D-8DAB-FAA404C63FCE}" type="datetime1">
              <a:rPr lang="en-US" smtClean="0"/>
              <a:pPr>
                <a:defRPr/>
              </a:pPr>
              <a:t>5/1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21CC26F-4323-41DC-A702-115B86A3D286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948816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C3CCCFD-9ED6-4A9B-A1E5-7335E52BD436}" type="datetime1">
              <a:rPr lang="en-US" smtClean="0"/>
              <a:pPr>
                <a:defRPr/>
              </a:pPr>
              <a:t>5/1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010809B-F3AA-4765-8A0B-DC684BD92051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437689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 preserve="1">
  <p:cSld name="Title slide">
    <p:bg>
      <p:bgPr>
        <a:noFill/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oogle Shape;10;p2"/>
          <p:cNvPicPr preferRelativeResize="0"/>
          <p:nvPr/>
        </p:nvPicPr>
        <p:blipFill rotWithShape="1">
          <a:blip r:embed="rId2">
            <a:alphaModFix amt="75000"/>
          </a:blip>
          <a:srcRect t="13710" b="-13709"/>
          <a:stretch/>
        </p:blipFill>
        <p:spPr>
          <a:xfrm>
            <a:off x="-182449" y="-71100"/>
            <a:ext cx="9326449" cy="622525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1;p2"/>
          <p:cNvSpPr/>
          <p:nvPr/>
        </p:nvSpPr>
        <p:spPr>
          <a:xfrm>
            <a:off x="0" y="1924525"/>
            <a:ext cx="9144000" cy="12993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12" name="Google Shape;12;p2"/>
          <p:cNvSpPr txBox="1"/>
          <p:nvPr/>
        </p:nvSpPr>
        <p:spPr>
          <a:xfrm>
            <a:off x="0" y="4720225"/>
            <a:ext cx="9144000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b="1">
                <a:solidFill>
                  <a:srgbClr val="243348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VINEYARDOFFSHORE.COM</a:t>
            </a:r>
            <a:endParaRPr sz="1800" b="1">
              <a:solidFill>
                <a:srgbClr val="243348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pic>
        <p:nvPicPr>
          <p:cNvPr id="13" name="Google Shape;13;p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053689" y="1934126"/>
            <a:ext cx="7229925" cy="12686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461425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 preserve="1">
  <p:cSld name="Section head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243348"/>
              </a:buClr>
              <a:buSzPts val="3600"/>
              <a:buFont typeface="Helvetica Neue"/>
              <a:buNone/>
              <a:defRPr sz="3600" b="1">
                <a:solidFill>
                  <a:srgbClr val="24334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pic>
        <p:nvPicPr>
          <p:cNvPr id="16" name="Google Shape;16;p3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053689" y="181526"/>
            <a:ext cx="7229925" cy="126865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Google Shape;17;p3"/>
          <p:cNvSpPr txBox="1">
            <a:spLocks noGrp="1"/>
          </p:cNvSpPr>
          <p:nvPr>
            <p:ph type="subTitle" idx="1"/>
          </p:nvPr>
        </p:nvSpPr>
        <p:spPr>
          <a:xfrm>
            <a:off x="0" y="2763500"/>
            <a:ext cx="9144000" cy="572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ADCBD0"/>
              </a:buClr>
              <a:buSzPts val="1800"/>
              <a:buFont typeface="EB Garamond"/>
              <a:buNone/>
              <a:defRPr b="1">
                <a:solidFill>
                  <a:srgbClr val="ADCBD0"/>
                </a:solidFill>
                <a:latin typeface="EB Garamond"/>
                <a:ea typeface="EB Garamond"/>
                <a:cs typeface="EB Garamond"/>
                <a:sym typeface="EB Garamond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0068163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 preserve="1">
  <p:cSld name="Title and body">
    <p:bg>
      <p:bgPr>
        <a:solidFill>
          <a:srgbClr val="ADCBD0"/>
        </a:solidFill>
        <a:effectLst/>
      </p:bgPr>
    </p:bg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4"/>
          <p:cNvSpPr/>
          <p:nvPr/>
        </p:nvSpPr>
        <p:spPr>
          <a:xfrm>
            <a:off x="-51025" y="3844200"/>
            <a:ext cx="9287100" cy="1383000"/>
          </a:xfrm>
          <a:prstGeom prst="rect">
            <a:avLst/>
          </a:prstGeom>
          <a:solidFill>
            <a:srgbClr val="24334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243348"/>
              </a:solidFill>
            </a:endParaRPr>
          </a:p>
        </p:txBody>
      </p:sp>
      <p:sp>
        <p:nvSpPr>
          <p:cNvPr id="20" name="Google Shape;20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1" name="Google Shape;21;p4"/>
          <p:cNvSpPr txBox="1">
            <a:spLocks noGrp="1"/>
          </p:cNvSpPr>
          <p:nvPr>
            <p:ph type="body" idx="1"/>
          </p:nvPr>
        </p:nvSpPr>
        <p:spPr>
          <a:xfrm>
            <a:off x="311700" y="1017725"/>
            <a:ext cx="8520600" cy="271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189" lvl="0" indent="-342892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378" lvl="1" indent="-317492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566" lvl="2" indent="-317492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754" lvl="3" indent="-317492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5943" lvl="4" indent="-317492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132" lvl="5" indent="-317492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320" lvl="6" indent="-317492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509" lvl="7" indent="-317492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697" lvl="8" indent="-317492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2" name="Google Shape;22;p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86919" y="1894775"/>
            <a:ext cx="8522563" cy="51435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123407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 preserve="1">
  <p:cSld name="Title and two columns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218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189" lvl="0" indent="-317492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378" lvl="1" indent="-304793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566" lvl="2" indent="-304793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754" lvl="3" indent="-304793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5943" lvl="4" indent="-304793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132" lvl="5" indent="-304793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320" lvl="6" indent="-304793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509" lvl="7" indent="-304793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697" lvl="8" indent="-304793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Google Shape;26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218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189" lvl="0" indent="-317492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378" lvl="1" indent="-304793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566" lvl="2" indent="-304793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754" lvl="3" indent="-304793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5943" lvl="4" indent="-304793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132" lvl="5" indent="-304793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320" lvl="6" indent="-304793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509" lvl="7" indent="-304793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697" lvl="8" indent="-304793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lvl="1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lvl="2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lvl="3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lvl="4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lvl="5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lvl="6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lvl="7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lvl="8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28" name="Google Shape;28;p5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787124" y="4488625"/>
            <a:ext cx="3569750" cy="6264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9" name="Google Shape;29;p5"/>
          <p:cNvCxnSpPr/>
          <p:nvPr/>
        </p:nvCxnSpPr>
        <p:spPr>
          <a:xfrm>
            <a:off x="-30575" y="4488625"/>
            <a:ext cx="9236100" cy="0"/>
          </a:xfrm>
          <a:prstGeom prst="straightConnector1">
            <a:avLst/>
          </a:prstGeom>
          <a:noFill/>
          <a:ln w="38100" cap="flat" cmpd="sng">
            <a:solidFill>
              <a:srgbClr val="ADCBD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0" name="Google Shape;30;p5"/>
          <p:cNvSpPr txBox="1">
            <a:spLocks noGrp="1"/>
          </p:cNvSpPr>
          <p:nvPr>
            <p:ph type="subTitle" idx="3"/>
          </p:nvPr>
        </p:nvSpPr>
        <p:spPr>
          <a:xfrm>
            <a:off x="6838200" y="4488625"/>
            <a:ext cx="2229600" cy="33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1pPr>
            <a:lvl2pPr lvl="1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8271210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6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3" name="Google Shape;33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lvl="1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lvl="2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lvl="3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lvl="4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lvl="5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lvl="6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lvl="7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lvl="8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34" name="Google Shape;34;p6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787124" y="4488625"/>
            <a:ext cx="3569750" cy="6264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5" name="Google Shape;35;p6"/>
          <p:cNvCxnSpPr>
            <a:cxnSpLocks/>
          </p:cNvCxnSpPr>
          <p:nvPr/>
        </p:nvCxnSpPr>
        <p:spPr>
          <a:xfrm>
            <a:off x="0" y="4488625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ADCBD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6" name="Google Shape;36;p6"/>
          <p:cNvSpPr txBox="1">
            <a:spLocks noGrp="1"/>
          </p:cNvSpPr>
          <p:nvPr>
            <p:ph type="subTitle" idx="1"/>
          </p:nvPr>
        </p:nvSpPr>
        <p:spPr>
          <a:xfrm>
            <a:off x="6838200" y="4488625"/>
            <a:ext cx="2229600" cy="33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2"/>
          </p:nvPr>
        </p:nvSpPr>
        <p:spPr>
          <a:xfrm>
            <a:off x="311700" y="1152475"/>
            <a:ext cx="8520600" cy="3223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189" lvl="0" indent="-342892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378" lvl="1" indent="-317492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566" lvl="2" indent="-317492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754" lvl="3" indent="-317492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5943" lvl="4" indent="-317492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132" lvl="5" indent="-317492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320" lvl="6" indent="-317492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509" lvl="7" indent="-317492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697" lvl="8" indent="-317492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85087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320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 preserve="1">
  <p:cSld name="Section title and description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7"/>
          <p:cNvSpPr txBox="1">
            <a:spLocks noGrp="1"/>
          </p:cNvSpPr>
          <p:nvPr>
            <p:ph type="body" idx="1"/>
          </p:nvPr>
        </p:nvSpPr>
        <p:spPr>
          <a:xfrm>
            <a:off x="4939500" y="1321525"/>
            <a:ext cx="3837000" cy="2992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189" lvl="0" indent="-342892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378" lvl="1" indent="-317492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566" lvl="2" indent="-317492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754" lvl="3" indent="-317492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5943" lvl="4" indent="-317492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132" lvl="5" indent="-317492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320" lvl="6" indent="-317492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509" lvl="7" indent="-317492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697" lvl="8" indent="-317492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Google Shape;40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>
                <a:solidFill>
                  <a:srgbClr val="24334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buNone/>
              <a:defRPr>
                <a:solidFill>
                  <a:srgbClr val="24334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rtl="0">
              <a:buNone/>
              <a:defRPr>
                <a:solidFill>
                  <a:srgbClr val="24334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rtl="0">
              <a:buNone/>
              <a:defRPr>
                <a:solidFill>
                  <a:srgbClr val="24334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rtl="0">
              <a:buNone/>
              <a:defRPr>
                <a:solidFill>
                  <a:srgbClr val="24334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rtl="0">
              <a:buNone/>
              <a:defRPr>
                <a:solidFill>
                  <a:srgbClr val="24334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rtl="0">
              <a:buNone/>
              <a:defRPr>
                <a:solidFill>
                  <a:srgbClr val="24334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rtl="0">
              <a:buNone/>
              <a:defRPr>
                <a:solidFill>
                  <a:srgbClr val="24334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rtl="0">
              <a:buNone/>
              <a:defRPr>
                <a:solidFill>
                  <a:srgbClr val="24334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41" name="Google Shape;41;p7"/>
          <p:cNvSpPr>
            <a:spLocks noGrp="1"/>
          </p:cNvSpPr>
          <p:nvPr>
            <p:ph type="pic" idx="2"/>
          </p:nvPr>
        </p:nvSpPr>
        <p:spPr>
          <a:xfrm>
            <a:off x="0" y="-125"/>
            <a:ext cx="4572000" cy="5143500"/>
          </a:xfrm>
          <a:prstGeom prst="rect">
            <a:avLst/>
          </a:prstGeom>
          <a:noFill/>
          <a:ln>
            <a:noFill/>
          </a:ln>
        </p:spPr>
      </p:sp>
      <p:sp>
        <p:nvSpPr>
          <p:cNvPr id="42" name="Google Shape;42;p7"/>
          <p:cNvSpPr txBox="1">
            <a:spLocks noGrp="1"/>
          </p:cNvSpPr>
          <p:nvPr>
            <p:ph type="title"/>
          </p:nvPr>
        </p:nvSpPr>
        <p:spPr>
          <a:xfrm>
            <a:off x="4939500" y="565825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3" name="Google Shape;43;p7"/>
          <p:cNvSpPr txBox="1">
            <a:spLocks noGrp="1"/>
          </p:cNvSpPr>
          <p:nvPr>
            <p:ph type="sldNum" idx="3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lvl="1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lvl="2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lvl="3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lvl="4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lvl="5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lvl="6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lvl="7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lvl="8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cxnSp>
        <p:nvCxnSpPr>
          <p:cNvPr id="44" name="Google Shape;44;p7"/>
          <p:cNvCxnSpPr/>
          <p:nvPr/>
        </p:nvCxnSpPr>
        <p:spPr>
          <a:xfrm>
            <a:off x="4571999" y="4488625"/>
            <a:ext cx="4633500" cy="0"/>
          </a:xfrm>
          <a:prstGeom prst="straightConnector1">
            <a:avLst/>
          </a:prstGeom>
          <a:noFill/>
          <a:ln w="38100" cap="flat" cmpd="sng">
            <a:solidFill>
              <a:srgbClr val="ADCBD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" name="Google Shape;45;p7"/>
          <p:cNvSpPr txBox="1">
            <a:spLocks noGrp="1"/>
          </p:cNvSpPr>
          <p:nvPr>
            <p:ph type="subTitle" idx="4"/>
          </p:nvPr>
        </p:nvSpPr>
        <p:spPr>
          <a:xfrm>
            <a:off x="6838200" y="4488625"/>
            <a:ext cx="2229600" cy="33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pic>
        <p:nvPicPr>
          <p:cNvPr id="46" name="Google Shape;46;p7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4338803" y="4136096"/>
            <a:ext cx="2229601" cy="13455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110734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 1" preserve="1">
  <p:cSld name="Section title and description 1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8"/>
          <p:cNvSpPr/>
          <p:nvPr/>
        </p:nvSpPr>
        <p:spPr>
          <a:xfrm>
            <a:off x="4572000" y="-60875"/>
            <a:ext cx="4633500" cy="5257500"/>
          </a:xfrm>
          <a:prstGeom prst="rect">
            <a:avLst/>
          </a:prstGeom>
          <a:solidFill>
            <a:srgbClr val="ADCBD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ADCBD0"/>
              </a:solidFill>
            </a:endParaRPr>
          </a:p>
        </p:txBody>
      </p:sp>
      <p:sp>
        <p:nvSpPr>
          <p:cNvPr id="49" name="Google Shape;49;p8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ADCBD0"/>
              </a:buClr>
              <a:buSzPts val="4200"/>
              <a:buNone/>
              <a:defRPr sz="4200">
                <a:solidFill>
                  <a:srgbClr val="ADCBD0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0" name="Google Shape;50;p8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51" name="Google Shape;51;p8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189" lvl="0" indent="-342892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378" lvl="1" indent="-317492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566" lvl="2" indent="-317492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754" lvl="3" indent="-317492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5943" lvl="4" indent="-317492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132" lvl="5" indent="-317492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320" lvl="6" indent="-317492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509" lvl="7" indent="-317492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697" lvl="8" indent="-317492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Google Shape;52;p8"/>
          <p:cNvSpPr txBox="1">
            <a:spLocks noGrp="1"/>
          </p:cNvSpPr>
          <p:nvPr>
            <p:ph type="sldNum" idx="12"/>
          </p:nvPr>
        </p:nvSpPr>
        <p:spPr>
          <a:xfrm>
            <a:off x="3905058" y="4652892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>
                <a:solidFill>
                  <a:srgbClr val="24334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buNone/>
              <a:defRPr>
                <a:solidFill>
                  <a:srgbClr val="24334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lvl="2" rtl="0">
              <a:buNone/>
              <a:defRPr>
                <a:solidFill>
                  <a:srgbClr val="24334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lvl="3" rtl="0">
              <a:buNone/>
              <a:defRPr>
                <a:solidFill>
                  <a:srgbClr val="24334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lvl="4" rtl="0">
              <a:buNone/>
              <a:defRPr>
                <a:solidFill>
                  <a:srgbClr val="24334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lvl="5" rtl="0">
              <a:buNone/>
              <a:defRPr>
                <a:solidFill>
                  <a:srgbClr val="24334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lvl="6" rtl="0">
              <a:buNone/>
              <a:defRPr>
                <a:solidFill>
                  <a:srgbClr val="24334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lvl="7" rtl="0">
              <a:buNone/>
              <a:defRPr>
                <a:solidFill>
                  <a:srgbClr val="24334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lvl="8" rtl="0">
              <a:buNone/>
              <a:defRPr>
                <a:solidFill>
                  <a:srgbClr val="24334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53" name="Google Shape;53;p8"/>
          <p:cNvSpPr txBox="1">
            <a:spLocks noGrp="1"/>
          </p:cNvSpPr>
          <p:nvPr>
            <p:ph type="sldNum" idx="3"/>
          </p:nvPr>
        </p:nvSpPr>
        <p:spPr>
          <a:xfrm>
            <a:off x="3905058" y="4652892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  <a:lvl2pPr lvl="1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2pPr>
            <a:lvl3pPr lvl="2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3pPr>
            <a:lvl4pPr lvl="3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4pPr>
            <a:lvl5pPr lvl="4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5pPr>
            <a:lvl6pPr lvl="5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6pPr>
            <a:lvl7pPr lvl="6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7pPr>
            <a:lvl8pPr lvl="7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8pPr>
            <a:lvl9pPr lvl="8" rtl="0">
              <a:buNone/>
              <a:defRPr>
                <a:solidFill>
                  <a:srgbClr val="243348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cxnSp>
        <p:nvCxnSpPr>
          <p:cNvPr id="54" name="Google Shape;54;p8"/>
          <p:cNvCxnSpPr/>
          <p:nvPr/>
        </p:nvCxnSpPr>
        <p:spPr>
          <a:xfrm>
            <a:off x="-28651" y="4478300"/>
            <a:ext cx="4633500" cy="0"/>
          </a:xfrm>
          <a:prstGeom prst="straightConnector1">
            <a:avLst/>
          </a:prstGeom>
          <a:noFill/>
          <a:ln w="38100" cap="flat" cmpd="sng">
            <a:solidFill>
              <a:srgbClr val="ADCBD0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55" name="Google Shape;55;p8"/>
          <p:cNvSpPr txBox="1">
            <a:spLocks noGrp="1"/>
          </p:cNvSpPr>
          <p:nvPr>
            <p:ph type="subTitle" idx="4"/>
          </p:nvPr>
        </p:nvSpPr>
        <p:spPr>
          <a:xfrm>
            <a:off x="2270800" y="4478300"/>
            <a:ext cx="2229600" cy="331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pic>
        <p:nvPicPr>
          <p:cNvPr id="56" name="Google Shape;56;p8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228598" y="4125772"/>
            <a:ext cx="2229601" cy="13455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325717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Google Shape;58;p9"/>
          <p:cNvPicPr preferRelativeResize="0"/>
          <p:nvPr/>
        </p:nvPicPr>
        <p:blipFill rotWithShape="1">
          <a:blip r:embed="rId2">
            <a:alphaModFix amt="75000"/>
          </a:blip>
          <a:srcRect t="13710" b="-13709"/>
          <a:stretch/>
        </p:blipFill>
        <p:spPr>
          <a:xfrm>
            <a:off x="-182449" y="-71100"/>
            <a:ext cx="9326449" cy="6225250"/>
          </a:xfrm>
          <a:prstGeom prst="rect">
            <a:avLst/>
          </a:prstGeom>
          <a:noFill/>
          <a:ln>
            <a:noFill/>
          </a:ln>
        </p:spPr>
      </p:pic>
      <p:sp>
        <p:nvSpPr>
          <p:cNvPr id="59" name="Google Shape;59;p9"/>
          <p:cNvSpPr/>
          <p:nvPr/>
        </p:nvSpPr>
        <p:spPr>
          <a:xfrm>
            <a:off x="0" y="0"/>
            <a:ext cx="9144000" cy="12993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pic>
        <p:nvPicPr>
          <p:cNvPr id="60" name="Google Shape;60;p9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033238" y="12900"/>
            <a:ext cx="7229925" cy="1268650"/>
          </a:xfrm>
          <a:prstGeom prst="rect">
            <a:avLst/>
          </a:prstGeom>
          <a:noFill/>
          <a:ln>
            <a:noFill/>
          </a:ln>
        </p:spPr>
      </p:pic>
      <p:sp>
        <p:nvSpPr>
          <p:cNvPr id="61" name="Google Shape;61;p9"/>
          <p:cNvSpPr/>
          <p:nvPr/>
        </p:nvSpPr>
        <p:spPr>
          <a:xfrm>
            <a:off x="5018775" y="2220025"/>
            <a:ext cx="3937800" cy="27924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</a:endParaRPr>
          </a:p>
        </p:txBody>
      </p:sp>
      <p:sp>
        <p:nvSpPr>
          <p:cNvPr id="62" name="Google Shape;62;p9"/>
          <p:cNvSpPr txBox="1"/>
          <p:nvPr/>
        </p:nvSpPr>
        <p:spPr>
          <a:xfrm>
            <a:off x="5018775" y="4612226"/>
            <a:ext cx="3937800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800" b="1">
                <a:solidFill>
                  <a:srgbClr val="243348"/>
                </a:solidFill>
              </a:rPr>
              <a:t>VINEYARDOFFSHORE.COM</a:t>
            </a:r>
            <a:endParaRPr sz="1800" b="1">
              <a:solidFill>
                <a:srgbClr val="243348"/>
              </a:solidFill>
            </a:endParaRPr>
          </a:p>
        </p:txBody>
      </p:sp>
      <p:sp>
        <p:nvSpPr>
          <p:cNvPr id="63" name="Google Shape;63;p9"/>
          <p:cNvSpPr txBox="1"/>
          <p:nvPr/>
        </p:nvSpPr>
        <p:spPr>
          <a:xfrm>
            <a:off x="6159350" y="2681876"/>
            <a:ext cx="3252600" cy="22313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None/>
            </a:pPr>
            <a:r>
              <a:rPr lang="en" sz="1800">
                <a:solidFill>
                  <a:srgbClr val="243348"/>
                </a:solidFill>
                <a:latin typeface="EB Garamond Medium"/>
                <a:ea typeface="EB Garamond Medium"/>
                <a:cs typeface="EB Garamond Medium"/>
                <a:sym typeface="EB Garamond Medium"/>
              </a:rPr>
              <a:t>@VineyardOFSHR</a:t>
            </a:r>
            <a:endParaRPr sz="1800">
              <a:solidFill>
                <a:srgbClr val="243348"/>
              </a:solidFill>
              <a:latin typeface="EB Garamond Medium"/>
              <a:ea typeface="EB Garamond Medium"/>
              <a:cs typeface="EB Garamond Medium"/>
              <a:sym typeface="EB Garamond Medium"/>
            </a:endParaRPr>
          </a:p>
          <a:p>
            <a:pPr marL="0" lvl="0" indent="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None/>
            </a:pPr>
            <a:r>
              <a:rPr lang="en" sz="1800">
                <a:solidFill>
                  <a:srgbClr val="243348"/>
                </a:solidFill>
                <a:latin typeface="EB Garamond Medium"/>
                <a:ea typeface="EB Garamond Medium"/>
                <a:cs typeface="EB Garamond Medium"/>
                <a:sym typeface="EB Garamond Medium"/>
              </a:rPr>
              <a:t>/VineyardOffshore</a:t>
            </a:r>
            <a:endParaRPr sz="1800">
              <a:solidFill>
                <a:srgbClr val="243348"/>
              </a:solidFill>
              <a:latin typeface="EB Garamond Medium"/>
              <a:ea typeface="EB Garamond Medium"/>
              <a:cs typeface="EB Garamond Medium"/>
              <a:sym typeface="EB Garamond Medium"/>
            </a:endParaRPr>
          </a:p>
          <a:p>
            <a:pPr marL="0" lvl="0" indent="0" algn="l" rtl="0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None/>
            </a:pPr>
            <a:r>
              <a:rPr lang="en" sz="1800">
                <a:solidFill>
                  <a:srgbClr val="243348"/>
                </a:solidFill>
                <a:latin typeface="EB Garamond Medium"/>
                <a:ea typeface="EB Garamond Medium"/>
                <a:cs typeface="EB Garamond Medium"/>
                <a:sym typeface="EB Garamond Medium"/>
              </a:rPr>
              <a:t>/Vineyard-Offshore</a:t>
            </a:r>
            <a:endParaRPr sz="1800">
              <a:solidFill>
                <a:srgbClr val="243348"/>
              </a:solidFill>
              <a:latin typeface="EB Garamond Medium"/>
              <a:ea typeface="EB Garamond Medium"/>
              <a:cs typeface="EB Garamond Medium"/>
              <a:sym typeface="EB Garamond Medium"/>
            </a:endParaRPr>
          </a:p>
        </p:txBody>
      </p:sp>
      <p:pic>
        <p:nvPicPr>
          <p:cNvPr id="64" name="Google Shape;64;p9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5750501" y="3240901"/>
            <a:ext cx="400199" cy="4001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5" name="Google Shape;65;p9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364901" y="3240901"/>
            <a:ext cx="400199" cy="4001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6" name="Google Shape;66;p9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5750501" y="2746789"/>
            <a:ext cx="400199" cy="400199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Google Shape;67;p9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5750501" y="3800276"/>
            <a:ext cx="400199" cy="4001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5550521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70DCE-B0DB-0F64-7628-6C6A6EEE37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01ACFF-245B-DB34-0ACE-EADFC8ADC73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B2B880-58BE-5F90-5A14-F7D8806E4D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BD4853-B332-F3B8-A627-274B58603D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F23E0E-2C22-3E32-815C-38D8CCCAF0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C7C2E1-F311-4F37-B5CE-3FE72E15F3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96971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60355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 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for more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40B66A6-4AA6-87DB-181A-2FA808891E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1553" y="365760"/>
            <a:ext cx="5068619" cy="285750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z="1800">
                <a:solidFill>
                  <a:srgbClr val="4B6470"/>
                </a:solidFill>
              </a:rPr>
              <a:t>Click to edit Master title style</a:t>
            </a:r>
            <a:endParaRPr lang="en-US" sz="1800" dirty="0">
              <a:solidFill>
                <a:srgbClr val="4B6470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6F73DB7-A0D9-1844-1CB7-3E73660BA0F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990600" y="971550"/>
            <a:ext cx="4270371" cy="671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>
              <a:buNone/>
            </a:pPr>
            <a:r>
              <a:rPr lang="en-US" sz="1500" b="1"/>
              <a:t>Click to edit Master text styles</a:t>
            </a:r>
          </a:p>
          <a:p>
            <a:pPr marL="0" lvl="1" indent="0">
              <a:buNone/>
            </a:pPr>
            <a:r>
              <a:rPr lang="en-US" sz="1500" b="1"/>
              <a:t>Second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403091C-4819-6C35-6444-F45717857A94}"/>
              </a:ext>
            </a:extLst>
          </p:cNvPr>
          <p:cNvSpPr txBox="1">
            <a:spLocks/>
          </p:cNvSpPr>
          <p:nvPr userDrawn="1"/>
        </p:nvSpPr>
        <p:spPr>
          <a:xfrm>
            <a:off x="6019800" y="342900"/>
            <a:ext cx="2757488" cy="4099560"/>
          </a:xfrm>
          <a:prstGeom prst="rect">
            <a:avLst/>
          </a:prstGeom>
          <a:solidFill>
            <a:srgbClr val="D4DCDF"/>
          </a:solidFill>
        </p:spPr>
        <p:txBody>
          <a:bodyPr vert="horz" lIns="205740" tIns="171450" rIns="205740" bIns="0" rtlCol="0">
            <a:noAutofit/>
          </a:bodyPr>
          <a:lstStyle>
            <a:lvl1pPr marL="342900" indent="-3429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240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ts val="0"/>
              </a:spcBef>
              <a:buFont typeface="Arial" pitchFamily="34" charset="0"/>
              <a:buChar char="–"/>
              <a:defRPr sz="200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–"/>
              <a:defRPr sz="160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»"/>
              <a:defRPr sz="160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dirty="0">
                <a:latin typeface="Aptos" panose="020B0004020202020204" pitchFamily="34" charset="0"/>
              </a:rPr>
              <a:t>Download the ISO to Go App</a:t>
            </a:r>
          </a:p>
          <a:p>
            <a:pPr marL="0" indent="0">
              <a:spcBef>
                <a:spcPts val="225"/>
              </a:spcBef>
              <a:buNone/>
            </a:pPr>
            <a:r>
              <a:rPr lang="en-US" sz="1050" dirty="0">
                <a:latin typeface="Aptos" panose="020B0004020202020204" pitchFamily="34" charset="0"/>
                <a:hlinkClick r:id="rId2"/>
              </a:rPr>
              <a:t>ISO to Go</a:t>
            </a:r>
            <a:r>
              <a:rPr lang="en-US" sz="1050" dirty="0">
                <a:latin typeface="Aptos" panose="020B0004020202020204" pitchFamily="34" charset="0"/>
              </a:rPr>
              <a:t> is a free mobile application that puts real-time wholesale electricity pricing and power grid information in the palm of your hand 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314104B-B5AE-8DF4-E9C7-F855ECE0D4FD}"/>
              </a:ext>
            </a:extLst>
          </p:cNvPr>
          <p:cNvSpPr txBox="1">
            <a:spLocks/>
          </p:cNvSpPr>
          <p:nvPr userDrawn="1"/>
        </p:nvSpPr>
        <p:spPr>
          <a:xfrm>
            <a:off x="1066799" y="2724150"/>
            <a:ext cx="4194172" cy="487313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>
            <a:lvl1pPr marL="342900" indent="-3429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240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ts val="0"/>
              </a:spcBef>
              <a:buFont typeface="Arial" pitchFamily="34" charset="0"/>
              <a:buChar char="–"/>
              <a:defRPr sz="200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–"/>
              <a:defRPr sz="160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»"/>
              <a:defRPr sz="160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500" b="1" dirty="0">
                <a:latin typeface="Aptos" panose="020B0004020202020204" pitchFamily="34" charset="0"/>
              </a:rPr>
              <a:t>Follow the ISO on X</a:t>
            </a:r>
          </a:p>
          <a:p>
            <a:pPr marL="0" indent="0">
              <a:spcBef>
                <a:spcPts val="225"/>
              </a:spcBef>
              <a:buNone/>
            </a:pPr>
            <a:r>
              <a:rPr lang="en-US" sz="1050" dirty="0">
                <a:latin typeface="Aptos" panose="020B0004020202020204" pitchFamily="34" charset="0"/>
                <a:hlinkClick r:id="rId3"/>
              </a:rPr>
              <a:t>@isonewengland</a:t>
            </a:r>
            <a:endParaRPr lang="en-US" sz="1800" dirty="0">
              <a:latin typeface="Aptos" panose="020B0004020202020204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B425AB9-F672-89B2-B142-CDBADA046AC6}"/>
              </a:ext>
            </a:extLst>
          </p:cNvPr>
          <p:cNvSpPr txBox="1">
            <a:spLocks/>
          </p:cNvSpPr>
          <p:nvPr userDrawn="1"/>
        </p:nvSpPr>
        <p:spPr>
          <a:xfrm>
            <a:off x="1066799" y="1885950"/>
            <a:ext cx="4255611" cy="648896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>
            <a:lvl1pPr marL="342900" indent="-3429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240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ts val="0"/>
              </a:spcBef>
              <a:buFont typeface="Arial" pitchFamily="34" charset="0"/>
              <a:buChar char="–"/>
              <a:defRPr sz="200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–"/>
              <a:defRPr sz="160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»"/>
              <a:defRPr sz="160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500" b="1" dirty="0">
                <a:latin typeface="Aptos" panose="020B0004020202020204" pitchFamily="34" charset="0"/>
              </a:rPr>
              <a:t>Log on to ISO Express </a:t>
            </a:r>
          </a:p>
          <a:p>
            <a:pPr marL="0" indent="0">
              <a:spcBef>
                <a:spcPts val="225"/>
              </a:spcBef>
              <a:buNone/>
            </a:pPr>
            <a:r>
              <a:rPr lang="en-US" sz="1050" dirty="0">
                <a:latin typeface="Aptos" panose="020B0004020202020204" pitchFamily="34" charset="0"/>
                <a:hlinkClick r:id="rId4"/>
              </a:rPr>
              <a:t>ISO Express</a:t>
            </a:r>
            <a:r>
              <a:rPr lang="en-US" sz="1050" dirty="0">
                <a:latin typeface="Aptos" panose="020B0004020202020204" pitchFamily="34" charset="0"/>
              </a:rPr>
              <a:t> provides real-time data on New England’s wholesale electricity markets and power system operation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7F3F19C-61B9-807E-C2F4-C7CE14AB6EBA}"/>
              </a:ext>
            </a:extLst>
          </p:cNvPr>
          <p:cNvSpPr/>
          <p:nvPr userDrawn="1"/>
        </p:nvSpPr>
        <p:spPr>
          <a:xfrm>
            <a:off x="448457" y="708660"/>
            <a:ext cx="5266543" cy="34290"/>
          </a:xfrm>
          <a:prstGeom prst="rect">
            <a:avLst/>
          </a:prstGeom>
          <a:solidFill>
            <a:srgbClr val="D4DC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atin typeface="Aptos" panose="020B00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AFA7ACB-443E-4728-8E10-12D3154D4BD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7200" y="2800350"/>
            <a:ext cx="428625" cy="42862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90E094B-0680-D9F2-9EDE-7027866A027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988788"/>
            <a:ext cx="428625" cy="4286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22DE14E-DEFB-C1E9-3ADA-5C5730DB627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093226"/>
            <a:ext cx="428625" cy="428625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1F8FA03-E23A-9A1C-D67C-32AED1BB48E2}"/>
              </a:ext>
            </a:extLst>
          </p:cNvPr>
          <p:cNvSpPr txBox="1">
            <a:spLocks/>
          </p:cNvSpPr>
          <p:nvPr userDrawn="1"/>
        </p:nvSpPr>
        <p:spPr>
          <a:xfrm>
            <a:off x="1066800" y="3476228"/>
            <a:ext cx="4194171" cy="487313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>
            <a:lvl1pPr marL="342900" indent="-342900" algn="l" defTabSz="914400" rtl="0" eaLnBrk="1" latinLnBrk="0" hangingPunct="1">
              <a:spcBef>
                <a:spcPts val="1200"/>
              </a:spcBef>
              <a:buFont typeface="Arial" pitchFamily="34" charset="0"/>
              <a:buChar char="•"/>
              <a:defRPr sz="240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ts val="0"/>
              </a:spcBef>
              <a:buFont typeface="Arial" pitchFamily="34" charset="0"/>
              <a:buChar char="–"/>
              <a:defRPr sz="200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–"/>
              <a:defRPr sz="160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ts val="0"/>
              </a:spcBef>
              <a:buFont typeface="Arial" pitchFamily="34" charset="0"/>
              <a:buChar char="»"/>
              <a:defRPr sz="1600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500" b="1" dirty="0">
                <a:latin typeface="Aptos" panose="020B0004020202020204" pitchFamily="34" charset="0"/>
              </a:rPr>
              <a:t>Follow the ISO on LinkedIn</a:t>
            </a:r>
          </a:p>
          <a:p>
            <a:pPr marL="0" indent="0">
              <a:spcBef>
                <a:spcPts val="225"/>
              </a:spcBef>
              <a:buNone/>
            </a:pPr>
            <a:r>
              <a:rPr lang="en-US" sz="1050" dirty="0">
                <a:latin typeface="Aptos" panose="020B0004020202020204" pitchFamily="34" charset="0"/>
                <a:hlinkClick r:id="rId8"/>
              </a:rPr>
              <a:t>@iso-new-england</a:t>
            </a:r>
            <a:endParaRPr lang="en-US" sz="1800" dirty="0">
              <a:latin typeface="Aptos" panose="020B00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5CAF2A5-8C22-534A-6736-D72D5563349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3514725"/>
            <a:ext cx="428625" cy="428625"/>
          </a:xfrm>
          <a:prstGeom prst="rect">
            <a:avLst/>
          </a:prstGeom>
        </p:spPr>
      </p:pic>
      <p:pic>
        <p:nvPicPr>
          <p:cNvPr id="16" name="Picture 15">
            <a:hlinkClick r:id="rId10"/>
            <a:extLst>
              <a:ext uri="{FF2B5EF4-FFF2-40B4-BE49-F238E27FC236}">
                <a16:creationId xmlns:a16="http://schemas.microsoft.com/office/drawing/2014/main" id="{897E1AEA-5EF1-A00E-D70C-D70E6BBD6FDD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4786" y="3604759"/>
            <a:ext cx="954089" cy="279245"/>
          </a:xfrm>
          <a:prstGeom prst="rect">
            <a:avLst/>
          </a:prstGeom>
          <a:effectLst/>
        </p:spPr>
      </p:pic>
      <p:pic>
        <p:nvPicPr>
          <p:cNvPr id="17" name="Picture 16">
            <a:hlinkClick r:id="rId12"/>
            <a:extLst>
              <a:ext uri="{FF2B5EF4-FFF2-40B4-BE49-F238E27FC236}">
                <a16:creationId xmlns:a16="http://schemas.microsoft.com/office/drawing/2014/main" id="{01471B66-E948-3C8F-2506-F072CCB98D23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3102" y="3976437"/>
            <a:ext cx="950778" cy="278277"/>
          </a:xfrm>
          <a:prstGeom prst="rect">
            <a:avLst/>
          </a:prstGeom>
          <a:effectLst/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6B8BD3B-2924-0C3A-895F-3B95310952C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00905" y="1521851"/>
            <a:ext cx="981850" cy="19317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DB2EA94-586C-785D-F96E-E6A3B5471B9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89220" y="1526760"/>
            <a:ext cx="981850" cy="192197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0AEAD5D-5F7B-F5FF-92CC-8FE663E976CF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47429" y="3589282"/>
            <a:ext cx="665432" cy="66543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853617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ques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35F9608-952E-8CC6-3F67-5206DE2BA8E2}"/>
              </a:ext>
            </a:extLst>
          </p:cNvPr>
          <p:cNvSpPr txBox="1"/>
          <p:nvPr userDrawn="1"/>
        </p:nvSpPr>
        <p:spPr>
          <a:xfrm>
            <a:off x="990600" y="2038350"/>
            <a:ext cx="39624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>
                <a:solidFill>
                  <a:srgbClr val="1E6A9A"/>
                </a:solidFill>
                <a:latin typeface="Aptos" panose="020B0004020202020204" pitchFamily="34" charset="0"/>
              </a:rPr>
              <a:t>Questio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1BD08D9-FDE0-9DB2-0CCF-54B0EC91F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10200" y="742950"/>
            <a:ext cx="2384900" cy="3276600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11"/>
          </p:nvPr>
        </p:nvSpPr>
        <p:spPr>
          <a:xfrm>
            <a:off x="457200" y="1056132"/>
            <a:ext cx="8229600" cy="3571875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200" y="57150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title and smart ar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martArt Placeholder 7"/>
          <p:cNvSpPr>
            <a:spLocks noGrp="1"/>
          </p:cNvSpPr>
          <p:nvPr>
            <p:ph type="dgm" sz="quarter" idx="11"/>
          </p:nvPr>
        </p:nvSpPr>
        <p:spPr>
          <a:xfrm>
            <a:off x="457200" y="1053846"/>
            <a:ext cx="8229600" cy="3575304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Click icon to add SmartArt graphic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57150"/>
            <a:ext cx="8229600" cy="857250"/>
          </a:xfrm>
        </p:spPr>
        <p:txBody>
          <a:bodyPr>
            <a:normAutofit/>
          </a:bodyPr>
          <a:lstStyle>
            <a:lvl1pPr algn="l">
              <a:defRPr sz="320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image" Target="../media/image1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7150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28700"/>
            <a:ext cx="8229600" cy="36095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34400" y="4774411"/>
            <a:ext cx="381000" cy="197639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400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900856" y="4746785"/>
            <a:ext cx="1342288" cy="114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b="1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B5441CF-2155-71E6-CD9C-BD43287609F2}"/>
              </a:ext>
            </a:extLst>
          </p:cNvPr>
          <p:cNvSpPr/>
          <p:nvPr userDrawn="1"/>
        </p:nvSpPr>
        <p:spPr>
          <a:xfrm>
            <a:off x="3900856" y="4727735"/>
            <a:ext cx="1342288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b="1" dirty="0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rPr>
              <a:t>ISO-NE PUBLIC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83" r:id="rId2"/>
    <p:sldLayoutId id="2147483675" r:id="rId3"/>
    <p:sldLayoutId id="2147483650" r:id="rId4"/>
    <p:sldLayoutId id="2147483664" r:id="rId5"/>
    <p:sldLayoutId id="2147483718" r:id="rId6"/>
    <p:sldLayoutId id="2147483684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0" r:id="rId19"/>
    <p:sldLayoutId id="2147483701" r:id="rId20"/>
    <p:sldLayoutId id="2147483717" r:id="rId2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 baseline="0">
          <a:solidFill>
            <a:srgbClr val="000000"/>
          </a:solidFill>
          <a:latin typeface="Aptos" panose="020B00040202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ts val="1200"/>
        </a:spcBef>
        <a:buFont typeface="Arial" pitchFamily="34" charset="0"/>
        <a:buChar char="•"/>
        <a:defRPr sz="2400" kern="1200" baseline="0">
          <a:solidFill>
            <a:srgbClr val="000000"/>
          </a:solidFill>
          <a:latin typeface="Aptos" panose="020B0004020202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0"/>
        </a:spcBef>
        <a:buFont typeface="Arial" pitchFamily="34" charset="0"/>
        <a:buChar char="–"/>
        <a:defRPr sz="2000" kern="1200" baseline="0">
          <a:solidFill>
            <a:srgbClr val="000000"/>
          </a:solidFill>
          <a:latin typeface="Aptos" panose="020B00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0"/>
        </a:spcBef>
        <a:buFont typeface="Arial" pitchFamily="34" charset="0"/>
        <a:buChar char="•"/>
        <a:defRPr sz="1800" kern="1200" baseline="0">
          <a:solidFill>
            <a:srgbClr val="000000"/>
          </a:solidFill>
          <a:latin typeface="Aptos" panose="020B00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0"/>
        </a:spcBef>
        <a:buFont typeface="Arial" pitchFamily="34" charset="0"/>
        <a:buChar char="–"/>
        <a:defRPr sz="1600" kern="1200" baseline="0">
          <a:solidFill>
            <a:srgbClr val="000000"/>
          </a:solidFill>
          <a:latin typeface="Aptos" panose="020B00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0"/>
        </a:spcBef>
        <a:buFont typeface="Arial" pitchFamily="34" charset="0"/>
        <a:buChar char="»"/>
        <a:defRPr sz="1600" kern="1200" baseline="0">
          <a:solidFill>
            <a:srgbClr val="000000"/>
          </a:solidFill>
          <a:latin typeface="Aptos" panose="020B00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14300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56132"/>
            <a:ext cx="8229600" cy="35206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000" y="4945861"/>
            <a:ext cx="381000" cy="197639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400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defRPr>
            </a:lvl1pPr>
          </a:lstStyle>
          <a:p>
            <a:fld id="{10C7F894-2A36-495D-AB7C-1055F7AC0F9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900856" y="5029200"/>
            <a:ext cx="1342288" cy="114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00" b="1" dirty="0">
              <a:solidFill>
                <a:schemeClr val="tx1"/>
              </a:solidFill>
              <a:latin typeface="Aptos" panose="020B00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6AEEC79-A36A-0DF6-6C4E-8C12AC68DE87}"/>
              </a:ext>
            </a:extLst>
          </p:cNvPr>
          <p:cNvSpPr/>
          <p:nvPr userDrawn="1"/>
        </p:nvSpPr>
        <p:spPr>
          <a:xfrm>
            <a:off x="3900856" y="4967568"/>
            <a:ext cx="1342288" cy="152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" b="1" dirty="0">
                <a:solidFill>
                  <a:schemeClr val="tx1">
                    <a:lumMod val="50000"/>
                  </a:schemeClr>
                </a:solidFill>
                <a:latin typeface="Aptos" panose="020B0004020202020204" pitchFamily="34" charset="0"/>
              </a:rPr>
              <a:t>ISO-NE PUBLIC</a:t>
            </a:r>
          </a:p>
        </p:txBody>
      </p:sp>
    </p:spTree>
    <p:extLst>
      <p:ext uri="{BB962C8B-B14F-4D97-AF65-F5344CB8AC3E}">
        <p14:creationId xmlns:p14="http://schemas.microsoft.com/office/powerpoint/2010/main" val="3189846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 baseline="0">
          <a:solidFill>
            <a:srgbClr val="000000"/>
          </a:solidFill>
          <a:latin typeface="Aptos" panose="020B00040202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ts val="1200"/>
        </a:spcBef>
        <a:buFont typeface="Arial" pitchFamily="34" charset="0"/>
        <a:buChar char="•"/>
        <a:defRPr sz="2400" kern="1200" baseline="0">
          <a:solidFill>
            <a:srgbClr val="000000"/>
          </a:solidFill>
          <a:latin typeface="Aptos" panose="020B0004020202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ts val="0"/>
        </a:spcBef>
        <a:buFont typeface="Arial" pitchFamily="34" charset="0"/>
        <a:buChar char="–"/>
        <a:defRPr sz="2000" kern="1200" baseline="0">
          <a:solidFill>
            <a:srgbClr val="000000"/>
          </a:solidFill>
          <a:latin typeface="Aptos" panose="020B00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ts val="0"/>
        </a:spcBef>
        <a:buFont typeface="Arial" pitchFamily="34" charset="0"/>
        <a:buChar char="•"/>
        <a:defRPr sz="1800" kern="1200" baseline="0">
          <a:solidFill>
            <a:srgbClr val="000000"/>
          </a:solidFill>
          <a:latin typeface="Aptos" panose="020B00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0"/>
        </a:spcBef>
        <a:buFont typeface="Arial" pitchFamily="34" charset="0"/>
        <a:buChar char="–"/>
        <a:defRPr sz="1600" kern="1200" baseline="0">
          <a:solidFill>
            <a:srgbClr val="000000"/>
          </a:solidFill>
          <a:latin typeface="Aptos" panose="020B00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0"/>
        </a:spcBef>
        <a:buFont typeface="Arial" pitchFamily="34" charset="0"/>
        <a:buChar char="»"/>
        <a:defRPr sz="1600" kern="1200" baseline="0">
          <a:solidFill>
            <a:srgbClr val="000000"/>
          </a:solidFill>
          <a:latin typeface="Aptos" panose="020B00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2ED19D4-8A05-4D23-BD61-1C59EC97AD58}" type="datetime1">
              <a:rPr lang="en-US" smtClean="0"/>
              <a:pPr>
                <a:defRPr/>
              </a:pPr>
              <a:t>5/15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41163D43-A1FA-4713-BD70-A683E7C75841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39210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</p:sldLayoutIdLst>
  <p:txStyles>
    <p:titleStyle>
      <a:lvl1pPr algn="l" defTabSz="68587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68" indent="-171468" algn="l" defTabSz="68587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405" indent="-171468" algn="l" defTabSz="68587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341" indent="-171468" algn="l" defTabSz="68587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278" indent="-171468" algn="l" defTabSz="68587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215" indent="-171468" algn="l" defTabSz="68587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6151" indent="-171468" algn="l" defTabSz="68587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9088" indent="-171468" algn="l" defTabSz="68587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2024" indent="-171468" algn="l" defTabSz="68587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961" indent="-171468" algn="l" defTabSz="68587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37" algn="l" defTabSz="6858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73" algn="l" defTabSz="6858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10" algn="l" defTabSz="6858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46" algn="l" defTabSz="6858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683" algn="l" defTabSz="6858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19" algn="l" defTabSz="6858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556" algn="l" defTabSz="6858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493" algn="l" defTabSz="68587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C819BF0-CEA4-220F-1BEC-CDBF5B41F0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89673405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04" imgH="405" progId="TCLayout.ActiveDocument.1">
                  <p:embed/>
                </p:oleObj>
              </mc:Choice>
              <mc:Fallback>
                <p:oleObj name="think-cell Slide" r:id="rId1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819BF0-CEA4-220F-1BEC-CDBF5B41F0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243348"/>
              </a:buClr>
              <a:buSzPts val="2600"/>
              <a:buFont typeface="Helvetica Neue"/>
              <a:buNone/>
              <a:defRPr sz="2600" b="1">
                <a:solidFill>
                  <a:srgbClr val="243348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43348"/>
              </a:buClr>
              <a:buSzPts val="1800"/>
              <a:buFont typeface="EB Garamond Medium"/>
              <a:buChar char="●"/>
              <a:defRPr sz="1800">
                <a:solidFill>
                  <a:srgbClr val="243348"/>
                </a:solidFill>
                <a:latin typeface="EB Garamond Medium"/>
                <a:ea typeface="EB Garamond Medium"/>
                <a:cs typeface="EB Garamond Medium"/>
                <a:sym typeface="EB Garamond Medium"/>
              </a:defRPr>
            </a:lvl1pPr>
            <a:lvl2pPr marL="914400" lvl="1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43348"/>
              </a:buClr>
              <a:buSzPts val="1400"/>
              <a:buFont typeface="EB Garamond Medium"/>
              <a:buChar char="○"/>
              <a:defRPr>
                <a:solidFill>
                  <a:srgbClr val="243348"/>
                </a:solidFill>
                <a:latin typeface="EB Garamond Medium"/>
                <a:ea typeface="EB Garamond Medium"/>
                <a:cs typeface="EB Garamond Medium"/>
                <a:sym typeface="EB Garamond Medium"/>
              </a:defRPr>
            </a:lvl2pPr>
            <a:lvl3pPr marL="1371600" lvl="2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43348"/>
              </a:buClr>
              <a:buSzPts val="1400"/>
              <a:buFont typeface="EB Garamond Medium"/>
              <a:buChar char="■"/>
              <a:defRPr>
                <a:solidFill>
                  <a:srgbClr val="243348"/>
                </a:solidFill>
                <a:latin typeface="EB Garamond Medium"/>
                <a:ea typeface="EB Garamond Medium"/>
                <a:cs typeface="EB Garamond Medium"/>
                <a:sym typeface="EB Garamond Medium"/>
              </a:defRPr>
            </a:lvl3pPr>
            <a:lvl4pPr marL="1828800" lvl="3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43348"/>
              </a:buClr>
              <a:buSzPts val="1400"/>
              <a:buFont typeface="EB Garamond Medium"/>
              <a:buChar char="●"/>
              <a:defRPr>
                <a:solidFill>
                  <a:srgbClr val="243348"/>
                </a:solidFill>
                <a:latin typeface="EB Garamond Medium"/>
                <a:ea typeface="EB Garamond Medium"/>
                <a:cs typeface="EB Garamond Medium"/>
                <a:sym typeface="EB Garamond Medium"/>
              </a:defRPr>
            </a:lvl4pPr>
            <a:lvl5pPr marL="2286000" lvl="4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43348"/>
              </a:buClr>
              <a:buSzPts val="1400"/>
              <a:buFont typeface="EB Garamond Medium"/>
              <a:buChar char="○"/>
              <a:defRPr>
                <a:solidFill>
                  <a:srgbClr val="243348"/>
                </a:solidFill>
                <a:latin typeface="EB Garamond Medium"/>
                <a:ea typeface="EB Garamond Medium"/>
                <a:cs typeface="EB Garamond Medium"/>
                <a:sym typeface="EB Garamond Medium"/>
              </a:defRPr>
            </a:lvl5pPr>
            <a:lvl6pPr marL="2743200" lvl="5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43348"/>
              </a:buClr>
              <a:buSzPts val="1400"/>
              <a:buFont typeface="EB Garamond Medium"/>
              <a:buChar char="■"/>
              <a:defRPr>
                <a:solidFill>
                  <a:srgbClr val="243348"/>
                </a:solidFill>
                <a:latin typeface="EB Garamond Medium"/>
                <a:ea typeface="EB Garamond Medium"/>
                <a:cs typeface="EB Garamond Medium"/>
                <a:sym typeface="EB Garamond Medium"/>
              </a:defRPr>
            </a:lvl6pPr>
            <a:lvl7pPr marL="3200400" lvl="6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43348"/>
              </a:buClr>
              <a:buSzPts val="1400"/>
              <a:buFont typeface="EB Garamond Medium"/>
              <a:buChar char="●"/>
              <a:defRPr>
                <a:solidFill>
                  <a:srgbClr val="243348"/>
                </a:solidFill>
                <a:latin typeface="EB Garamond Medium"/>
                <a:ea typeface="EB Garamond Medium"/>
                <a:cs typeface="EB Garamond Medium"/>
                <a:sym typeface="EB Garamond Medium"/>
              </a:defRPr>
            </a:lvl7pPr>
            <a:lvl8pPr marL="3657600" lvl="7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43348"/>
              </a:buClr>
              <a:buSzPts val="1400"/>
              <a:buFont typeface="EB Garamond Medium"/>
              <a:buChar char="○"/>
              <a:defRPr>
                <a:solidFill>
                  <a:srgbClr val="243348"/>
                </a:solidFill>
                <a:latin typeface="EB Garamond Medium"/>
                <a:ea typeface="EB Garamond Medium"/>
                <a:cs typeface="EB Garamond Medium"/>
                <a:sym typeface="EB Garamond Medium"/>
              </a:defRPr>
            </a:lvl8pPr>
            <a:lvl9pPr marL="4114800" lvl="8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243348"/>
              </a:buClr>
              <a:buSzPts val="1400"/>
              <a:buFont typeface="EB Garamond Medium"/>
              <a:buChar char="■"/>
              <a:defRPr>
                <a:solidFill>
                  <a:srgbClr val="243348"/>
                </a:solidFill>
                <a:latin typeface="EB Garamond Medium"/>
                <a:ea typeface="EB Garamond Medium"/>
                <a:cs typeface="EB Garamond Medium"/>
                <a:sym typeface="EB Garamond Medium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 rtl="0">
              <a:buNone/>
              <a:defRPr sz="1000">
                <a:solidFill>
                  <a:schemeClr val="dk2"/>
                </a:solidFill>
              </a:defRPr>
            </a:lvl1pPr>
            <a:lvl2pPr lvl="1" algn="r" rtl="0">
              <a:buNone/>
              <a:defRPr sz="1000">
                <a:solidFill>
                  <a:schemeClr val="dk2"/>
                </a:solidFill>
              </a:defRPr>
            </a:lvl2pPr>
            <a:lvl3pPr lvl="2" algn="r" rtl="0">
              <a:buNone/>
              <a:defRPr sz="1000">
                <a:solidFill>
                  <a:schemeClr val="dk2"/>
                </a:solidFill>
              </a:defRPr>
            </a:lvl3pPr>
            <a:lvl4pPr lvl="3" algn="r" rtl="0">
              <a:buNone/>
              <a:defRPr sz="1000">
                <a:solidFill>
                  <a:schemeClr val="dk2"/>
                </a:solidFill>
              </a:defRPr>
            </a:lvl4pPr>
            <a:lvl5pPr lvl="4" algn="r" rtl="0">
              <a:buNone/>
              <a:defRPr sz="1000">
                <a:solidFill>
                  <a:schemeClr val="dk2"/>
                </a:solidFill>
              </a:defRPr>
            </a:lvl5pPr>
            <a:lvl6pPr lvl="5" algn="r" rtl="0">
              <a:buNone/>
              <a:defRPr sz="1000">
                <a:solidFill>
                  <a:schemeClr val="dk2"/>
                </a:solidFill>
              </a:defRPr>
            </a:lvl6pPr>
            <a:lvl7pPr lvl="6" algn="r" rtl="0">
              <a:buNone/>
              <a:defRPr sz="1000">
                <a:solidFill>
                  <a:schemeClr val="dk2"/>
                </a:solidFill>
              </a:defRPr>
            </a:lvl7pPr>
            <a:lvl8pPr lvl="7" algn="r" rtl="0">
              <a:buNone/>
              <a:defRPr sz="1000">
                <a:solidFill>
                  <a:schemeClr val="dk2"/>
                </a:solidFill>
              </a:defRPr>
            </a:lvl8pPr>
            <a:lvl9pPr lvl="8" algn="r" rtl="0">
              <a:buNone/>
              <a:defRPr sz="1000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42169309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tiff"/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vestor.nexteraenergy.com/~/media/Files/N/NEE-IR/news-and-events/events-and-presentations/2025/2025%20March%20Investor%20Deck.pdf" TargetMode="External"/><Relationship Id="rId7" Type="http://schemas.openxmlformats.org/officeDocument/2006/relationships/hyperlink" Target="https://apnews.com/article/georgia-nuclear-power-plant-vogtle-rates-costs-75c7a413cda3935dd551be9115e88a64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9.xml"/><Relationship Id="rId6" Type="http://schemas.openxmlformats.org/officeDocument/2006/relationships/hyperlink" Target="https://www.rtoinsider.com/105057-ontario-greenlights-opg-smr/?utm_source=ActiveCampaign&amp;utm_medium=email&amp;utm_content=Today%20%40%20RTO%20Insider&amp;utm_campaign=Daily%20News%20for%20Paid%20%26%20Trial%20Subscribers%3A%2005%2F14%2F2025" TargetMode="External"/><Relationship Id="rId5" Type="http://schemas.openxmlformats.org/officeDocument/2006/relationships/hyperlink" Target="https://www.iso-ne.com/static-assets/documents/100014/epcet_policy_final_results.pdf" TargetMode="External"/><Relationship Id="rId4" Type="http://schemas.openxmlformats.org/officeDocument/2006/relationships/hyperlink" Target="https://www.iso-ne.com/static-assets/documents/100021/a06_2025_03_19_pac_2024_economic_studies_policy_scenario_sensitivities_and_follow_up_to_stakeholder_requested_scenarios.pdf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so-ne.com/system-planning/system-plans-studies/celt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hyperlink" Target="https://www.iso-ne.com/static-assets/documents/100016/2024-epcet-report.pdf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so-ne.com/static-assets/documents/100021/2050_osw_report_final.pdf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9.png"/><Relationship Id="rId4" Type="http://schemas.openxmlformats.org/officeDocument/2006/relationships/hyperlink" Target="https://www.iso-ne.com/static-assets/documents/100008/2024_02_14_pac_2050_transmission_study_final.pdf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isonewswire.com/2023/12/11/iso-nes-study-of-energy-shortfall-risks-produces-innovative-tool-for-assessing-energy-adequacy/" TargetMode="Externa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9.xml"/><Relationship Id="rId5" Type="http://schemas.openxmlformats.org/officeDocument/2006/relationships/hyperlink" Target="https://isonewswire.com/2018/12/18/iso-ne-analyzes-potential-impact-of-offshore-wind-during-historic-cold-spell/" TargetMode="External"/><Relationship Id="rId4" Type="http://schemas.openxmlformats.org/officeDocument/2006/relationships/hyperlink" Target="https://isonewswire.com/2025/03/26/monthly-wholesale-electricity-prices-and-demand-in-new-england-february-2025/#:~:text=Monthly%20wholesale%20electricity%20prices%20and%20demand%20in,were%20$130.39/MWh%2C%20up%20256%%20from%20February%202024.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C29FB1-CC19-8723-8FA4-80DFE6BA6C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945" y="1164562"/>
            <a:ext cx="8211503" cy="651242"/>
          </a:xfrm>
        </p:spPr>
        <p:txBody>
          <a:bodyPr>
            <a:noAutofit/>
          </a:bodyPr>
          <a:lstStyle/>
          <a:p>
            <a:pPr>
              <a:lnSpc>
                <a:spcPct val="107000"/>
              </a:lnSpc>
              <a:spcBef>
                <a:spcPts val="0"/>
              </a:spcBef>
            </a:pPr>
            <a:r>
              <a:rPr lang="en-US" sz="3084" b="1" dirty="0">
                <a:latin typeface="Century Gothic" panose="020B0502020202020204" pitchFamily="34" charset="0"/>
                <a:ea typeface="Liberation Serif"/>
              </a:rPr>
              <a:t>Concurrent Session</a:t>
            </a:r>
            <a:br>
              <a:rPr lang="en-US" sz="3084" b="1" dirty="0">
                <a:latin typeface="Century Gothic" panose="020B0502020202020204" pitchFamily="34" charset="0"/>
                <a:ea typeface="Liberation Serif"/>
              </a:rPr>
            </a:br>
            <a:r>
              <a:rPr lang="en-US" sz="1833" i="1" dirty="0">
                <a:latin typeface="Century Gothic" panose="020B0502020202020204" pitchFamily="34" charset="0"/>
                <a:ea typeface="Liberation Serif"/>
              </a:rPr>
              <a:t>Offshore Wind: Where are We Headed, and How Quickly? </a:t>
            </a:r>
            <a:endParaRPr lang="en-US" sz="3445" i="1" dirty="0">
              <a:latin typeface="Century Gothic" panose="020B0502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9BF8D0E-6F65-6A82-DDCE-69ACBAABCEB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84" y="61617"/>
            <a:ext cx="3264332" cy="65349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8A28949-8269-FFA0-863C-C08E47DD1B8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96" r="25035" b="50095"/>
          <a:stretch/>
        </p:blipFill>
        <p:spPr>
          <a:xfrm>
            <a:off x="0" y="1949040"/>
            <a:ext cx="9144000" cy="3670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497972"/>
      </p:ext>
    </p:extLst>
  </p:cSld>
  <p:clrMapOvr>
    <a:masterClrMapping/>
  </p:clrMapOvr>
  <p:transition spd="slow" advClick="0" advTm="16004">
    <p:randomBar dir="vert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35B177-4BFB-17BE-ED41-ADAEF9B511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99F721-13D0-B559-6FC7-C6B990742E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700" y="265250"/>
            <a:ext cx="8520600" cy="572700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venir Next LT Pro" panose="020B0504020202020204" pitchFamily="34" charset="0"/>
              </a:rPr>
              <a:t>Big Picture: How Offshore Wind works with overall generation mix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A348397-AB8B-0DDC-CE80-6C39E7C30ED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defTabSz="685800"/>
            <a:fld id="{00000000-1234-1234-1234-123412341234}" type="slidenum">
              <a:rPr lang="en"/>
              <a:pPr defTabSz="685800"/>
              <a:t>10</a:t>
            </a:fld>
            <a:endParaRPr lang="e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51DCACF-A421-DD51-17EB-2D7EFD78379D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311700" y="972699"/>
            <a:ext cx="8520600" cy="3223800"/>
          </a:xfrm>
          <a:noFill/>
          <a:ln>
            <a:noFill/>
          </a:ln>
        </p:spPr>
        <p:txBody>
          <a:bodyPr spcFirstLastPara="1" wrap="square" lIns="68569" tIns="68569" rIns="68569" bIns="68569" anchor="t" anchorCtr="0">
            <a:normAutofit fontScale="92500" lnSpcReduction="10000"/>
          </a:bodyPr>
          <a:lstStyle/>
          <a:p>
            <a:pPr marL="214313" indent="-214313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>
                <a:latin typeface="Avenir Next LT Pro" panose="020B0504020202020204" pitchFamily="34" charset="0"/>
              </a:rPr>
              <a:t>Energy generation resources across the board are facing increasing costs and timelines</a:t>
            </a:r>
          </a:p>
          <a:p>
            <a:pPr marL="557213" lvl="1" indent="-214313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00">
                <a:latin typeface="Avenir Next LT Pro" panose="020B0504020202020204" pitchFamily="34" charset="0"/>
              </a:rPr>
              <a:t>New Natural Gas</a:t>
            </a:r>
          </a:p>
          <a:p>
            <a:pPr lvl="2">
              <a:spcAft>
                <a:spcPts val="450"/>
              </a:spcAft>
              <a:buFont typeface="Courier New" panose="02070309020205020404" pitchFamily="49" charset="0"/>
              <a:buChar char="o"/>
            </a:pPr>
            <a:r>
              <a:rPr lang="en-US" sz="1200">
                <a:latin typeface="Avenir Next LT Pro" panose="020B0504020202020204" pitchFamily="34" charset="0"/>
              </a:rPr>
              <a:t>Timeline: 2030+</a:t>
            </a:r>
          </a:p>
          <a:p>
            <a:pPr lvl="2">
              <a:spcAft>
                <a:spcPts val="450"/>
              </a:spcAft>
              <a:buFont typeface="Courier New" panose="02070309020205020404" pitchFamily="49" charset="0"/>
              <a:buChar char="o"/>
            </a:pPr>
            <a:r>
              <a:rPr lang="en-US" sz="1200">
                <a:latin typeface="Avenir Next LT Pro" panose="020B0504020202020204" pitchFamily="34" charset="0"/>
              </a:rPr>
              <a:t>Cost: $85-$115/ MWh*; estimate of $2300/kW in 2030</a:t>
            </a:r>
            <a:endParaRPr lang="en-US" sz="1350">
              <a:latin typeface="Avenir Next LT Pro" panose="020B0504020202020204" pitchFamily="34" charset="0"/>
            </a:endParaRPr>
          </a:p>
          <a:p>
            <a:pPr marL="557213" lvl="1" indent="-214313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00">
                <a:latin typeface="Avenir Next LT Pro" panose="020B0504020202020204" pitchFamily="34" charset="0"/>
              </a:rPr>
              <a:t>Small Modular Nuclear Reactors</a:t>
            </a:r>
          </a:p>
          <a:p>
            <a:pPr lvl="2">
              <a:spcAft>
                <a:spcPts val="450"/>
              </a:spcAft>
              <a:buFont typeface="Courier New" panose="02070309020205020404" pitchFamily="49" charset="0"/>
              <a:buChar char="o"/>
            </a:pPr>
            <a:r>
              <a:rPr lang="en-US" sz="1200">
                <a:latin typeface="Avenir Next LT Pro" panose="020B0504020202020204" pitchFamily="34" charset="0"/>
              </a:rPr>
              <a:t>Timeline: 2030+</a:t>
            </a:r>
          </a:p>
          <a:p>
            <a:pPr lvl="2">
              <a:spcAft>
                <a:spcPts val="450"/>
              </a:spcAft>
              <a:buFont typeface="Courier New" panose="02070309020205020404" pitchFamily="49" charset="0"/>
              <a:buChar char="o"/>
            </a:pPr>
            <a:r>
              <a:rPr lang="en-US" sz="1200">
                <a:latin typeface="Avenir Next LT Pro" panose="020B0504020202020204" pitchFamily="34" charset="0"/>
              </a:rPr>
              <a:t>Cost: Start at $8,500/kW (fall to 5,500/kW in 2050)</a:t>
            </a:r>
          </a:p>
          <a:p>
            <a:pPr lvl="3">
              <a:spcAft>
                <a:spcPts val="450"/>
              </a:spcAft>
              <a:buFont typeface="Wingdings" panose="05000000000000000000" pitchFamily="2" charset="2"/>
              <a:buChar char="§"/>
            </a:pPr>
            <a:r>
              <a:rPr lang="en-US" sz="1200">
                <a:latin typeface="Avenir Next LT Pro" panose="020B0504020202020204" pitchFamily="34" charset="0"/>
              </a:rPr>
              <a:t>Recent example in Ontario: 3GW for $5.5B, expected online in 2030</a:t>
            </a:r>
            <a:endParaRPr lang="en-US" sz="1350">
              <a:latin typeface="Avenir Next LT Pro" panose="020B0504020202020204" pitchFamily="34" charset="0"/>
            </a:endParaRPr>
          </a:p>
          <a:p>
            <a:pPr marL="557213" lvl="1" indent="-214313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00">
                <a:latin typeface="Avenir Next LT Pro" panose="020B0504020202020204" pitchFamily="34" charset="0"/>
              </a:rPr>
              <a:t>Expansion of Existing Nuclear - Georgia Vogtle 3&amp;4: </a:t>
            </a:r>
          </a:p>
          <a:p>
            <a:pPr lvl="2">
              <a:spcAft>
                <a:spcPts val="450"/>
              </a:spcAft>
              <a:buFont typeface="Courier New" panose="02070309020205020404" pitchFamily="49" charset="0"/>
              <a:buChar char="o"/>
            </a:pPr>
            <a:r>
              <a:rPr lang="en-US" sz="1200">
                <a:latin typeface="Avenir Next LT Pro" panose="020B0504020202020204" pitchFamily="34" charset="0"/>
              </a:rPr>
              <a:t>Timeline: Online in 2024 (seven years behind schedule)</a:t>
            </a:r>
          </a:p>
          <a:p>
            <a:pPr lvl="2">
              <a:spcAft>
                <a:spcPts val="450"/>
              </a:spcAft>
              <a:buFont typeface="Courier New" panose="02070309020205020404" pitchFamily="49" charset="0"/>
              <a:buChar char="o"/>
            </a:pPr>
            <a:r>
              <a:rPr lang="en-US" sz="1200">
                <a:latin typeface="Avenir Next LT Pro" panose="020B0504020202020204" pitchFamily="34" charset="0"/>
              </a:rPr>
              <a:t>Cost: $31B</a:t>
            </a:r>
            <a:endParaRPr lang="en-US" sz="1350">
              <a:latin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214A837-9F9E-1072-983A-0D636E653F63}"/>
              </a:ext>
            </a:extLst>
          </p:cNvPr>
          <p:cNvSpPr txBox="1"/>
          <p:nvPr/>
        </p:nvSpPr>
        <p:spPr>
          <a:xfrm>
            <a:off x="99874" y="4192146"/>
            <a:ext cx="892128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675">
                <a:solidFill>
                  <a:srgbClr val="000000"/>
                </a:solidFill>
                <a:latin typeface="Avenir Next LT Pro" panose="020B0504020202020204" pitchFamily="34" charset="0"/>
              </a:rPr>
              <a:t>Sources: NextEra </a:t>
            </a:r>
            <a:r>
              <a:rPr lang="en-US" sz="675">
                <a:solidFill>
                  <a:srgbClr val="000000"/>
                </a:solidFill>
                <a:latin typeface="Avenir Next LT Pro" panose="020B0504020202020204" pitchFamily="34" charset="0"/>
                <a:hlinkClick r:id="rId3"/>
              </a:rPr>
              <a:t>2025 March Investor Deck.pdf</a:t>
            </a:r>
            <a:r>
              <a:rPr lang="en-US" sz="675">
                <a:solidFill>
                  <a:srgbClr val="000000"/>
                </a:solidFill>
                <a:latin typeface="Avenir Next LT Pro" panose="020B0504020202020204" pitchFamily="34" charset="0"/>
              </a:rPr>
              <a:t>; </a:t>
            </a:r>
            <a:r>
              <a:rPr lang="en-US" sz="675">
                <a:solidFill>
                  <a:srgbClr val="000000"/>
                </a:solidFill>
                <a:latin typeface="Avenir Next LT Pro" panose="020B0504020202020204" pitchFamily="34" charset="0"/>
                <a:hlinkClick r:id="rId4"/>
              </a:rPr>
              <a:t>ISO-NE 2024 Economic Study (March 19, 2025 PAC Presentation</a:t>
            </a:r>
            <a:r>
              <a:rPr lang="en-US" sz="675">
                <a:solidFill>
                  <a:srgbClr val="000000"/>
                </a:solidFill>
                <a:latin typeface="Avenir Next LT Pro" panose="020B0504020202020204" pitchFamily="34" charset="0"/>
              </a:rPr>
              <a:t>) ; SMR numbers from </a:t>
            </a:r>
            <a:r>
              <a:rPr lang="en-US" sz="675">
                <a:solidFill>
                  <a:srgbClr val="000000"/>
                </a:solidFill>
                <a:latin typeface="Avenir Next LT Pro" panose="020B0504020202020204" pitchFamily="34" charset="0"/>
                <a:hlinkClick r:id="rId5"/>
              </a:rPr>
              <a:t>ISONE  Economic Planning for the Clean Energy Transition</a:t>
            </a:r>
            <a:r>
              <a:rPr lang="en-US" sz="675">
                <a:solidFill>
                  <a:srgbClr val="000000"/>
                </a:solidFill>
                <a:latin typeface="Avenir Next LT Pro" panose="020B0504020202020204" pitchFamily="34" charset="0"/>
              </a:rPr>
              <a:t>; </a:t>
            </a:r>
            <a:r>
              <a:rPr lang="en-US" sz="675" err="1">
                <a:solidFill>
                  <a:srgbClr val="000000"/>
                </a:solidFill>
                <a:latin typeface="Avenir Next LT Pro" panose="020B0504020202020204" pitchFamily="34" charset="0"/>
              </a:rPr>
              <a:t>RTOInsider</a:t>
            </a:r>
            <a:r>
              <a:rPr lang="en-US" sz="675">
                <a:solidFill>
                  <a:srgbClr val="000000"/>
                </a:solidFill>
                <a:latin typeface="Avenir Next LT Pro" panose="020B0504020202020204" pitchFamily="34" charset="0"/>
              </a:rPr>
              <a:t> </a:t>
            </a:r>
            <a:r>
              <a:rPr lang="en-US" sz="675">
                <a:solidFill>
                  <a:srgbClr val="000000"/>
                </a:solidFill>
                <a:latin typeface="Avenir Next LT Pro" panose="020B0504020202020204" pitchFamily="34" charset="0"/>
                <a:hlinkClick r:id="rId6"/>
              </a:rPr>
              <a:t>Ontario Greenlights OPG to Build Small Modular Reactor</a:t>
            </a:r>
            <a:r>
              <a:rPr lang="en-US" sz="675">
                <a:solidFill>
                  <a:srgbClr val="000000"/>
                </a:solidFill>
                <a:latin typeface="Avenir Next LT Pro" panose="020B0504020202020204" pitchFamily="34" charset="0"/>
              </a:rPr>
              <a:t>; </a:t>
            </a:r>
            <a:r>
              <a:rPr lang="en-US" sz="675">
                <a:solidFill>
                  <a:srgbClr val="000000"/>
                </a:solidFill>
                <a:latin typeface="Avenir Next LT Pro" panose="020B0504020202020204" pitchFamily="34" charset="0"/>
                <a:hlinkClick r:id="rId7"/>
              </a:rPr>
              <a:t>Georgia nuclear rebirth arrives 7 years late, $17B over cost | AP News</a:t>
            </a:r>
            <a:endParaRPr lang="en-US" sz="675">
              <a:solidFill>
                <a:srgbClr val="000000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8E82371-CB0E-7BCA-3382-26B99FBF27BC}"/>
              </a:ext>
            </a:extLst>
          </p:cNvPr>
          <p:cNvSpPr txBox="1"/>
          <p:nvPr/>
        </p:nvSpPr>
        <p:spPr>
          <a:xfrm>
            <a:off x="387194" y="674355"/>
            <a:ext cx="8346645" cy="276999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defTabSz="685800"/>
            <a:endParaRPr lang="en-US" sz="1350">
              <a:solidFill>
                <a:srgbClr val="000000"/>
              </a:solidFill>
              <a:highlight>
                <a:srgbClr val="FFFF00"/>
              </a:highlight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27364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371667-45E4-1B12-FBF0-49D4A2E956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9E8FDC-E89A-AB03-8187-8A97235895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700" y="265250"/>
            <a:ext cx="8520600" cy="572700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venir Next LT Pro" panose="020B0504020202020204" pitchFamily="34" charset="0"/>
              </a:rPr>
              <a:t>Big Picture: Offshore Wind and Energy Policy Objectiv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1A592F-FA57-AC42-E429-F7DD5348145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defTabSz="685800"/>
            <a:fld id="{00000000-1234-1234-1234-123412341234}" type="slidenum">
              <a:rPr lang="en"/>
              <a:pPr defTabSz="685800"/>
              <a:t>11</a:t>
            </a:fld>
            <a:endParaRPr lang="e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DDE64D0-4B41-7950-AD7A-1F932474A516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311701" y="972699"/>
            <a:ext cx="4149329" cy="3223800"/>
          </a:xfrm>
        </p:spPr>
        <p:txBody>
          <a:bodyPr>
            <a:normAutofit fontScale="92500" lnSpcReduction="10000"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>
                <a:latin typeface="Avenir Next LT Pro" panose="020B0504020202020204" pitchFamily="34" charset="0"/>
              </a:rPr>
              <a:t>ISO-NE policy sensitivity analysis finds that without OSW the total annualized build costs increased by $26B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>
                <a:latin typeface="Avenir Next LT Pro" panose="020B0504020202020204" pitchFamily="34" charset="0"/>
              </a:rPr>
              <a:t>Takeaway is that </a:t>
            </a:r>
            <a:r>
              <a:rPr lang="en-US" u="sng" dirty="0"/>
              <a:t>New England needs new OSW resources to meet state emission goals at the lowest cost</a:t>
            </a:r>
            <a:endParaRPr lang="en-US" u="sng" dirty="0">
              <a:latin typeface="Avenir Next LT Pro" panose="020B0504020202020204" pitchFamily="34" charset="0"/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dirty="0">
                <a:latin typeface="Avenir Next LT Pro" panose="020B0504020202020204" pitchFamily="34" charset="0"/>
              </a:rPr>
              <a:t>Additional benefits for region</a:t>
            </a:r>
          </a:p>
          <a:p>
            <a:pPr marL="671501" lvl="1" indent="-214313">
              <a:buFont typeface="Arial" panose="020B0604020202020204" pitchFamily="34" charset="0"/>
              <a:buChar char="•"/>
            </a:pPr>
            <a:r>
              <a:rPr lang="en-US" dirty="0">
                <a:latin typeface="Avenir Next LT Pro" panose="020B0504020202020204" pitchFamily="34" charset="0"/>
              </a:rPr>
              <a:t>Reducing demand for land for onshore resources</a:t>
            </a:r>
          </a:p>
          <a:p>
            <a:pPr marL="671501" lvl="1" indent="-214313">
              <a:buFont typeface="Arial" panose="020B0604020202020204" pitchFamily="34" charset="0"/>
              <a:buChar char="•"/>
            </a:pPr>
            <a:r>
              <a:rPr lang="en-US" dirty="0">
                <a:latin typeface="Avenir Next LT Pro" panose="020B0504020202020204" pitchFamily="34" charset="0"/>
              </a:rPr>
              <a:t>Complements a future winter peaking system</a:t>
            </a:r>
          </a:p>
          <a:p>
            <a:pPr marL="671501" lvl="1" indent="-214313">
              <a:buFont typeface="Arial" panose="020B0604020202020204" pitchFamily="34" charset="0"/>
              <a:buChar char="•"/>
            </a:pPr>
            <a:r>
              <a:rPr lang="en-US" dirty="0">
                <a:latin typeface="Avenir Next LT Pro" panose="020B0504020202020204" pitchFamily="34" charset="0"/>
              </a:rPr>
              <a:t>Improved air quality in the region</a:t>
            </a:r>
          </a:p>
          <a:p>
            <a:pPr marL="671501" lvl="1" indent="-214313">
              <a:buFont typeface="Arial" panose="020B0604020202020204" pitchFamily="34" charset="0"/>
              <a:buChar char="•"/>
            </a:pPr>
            <a:endParaRPr lang="en-US" dirty="0">
              <a:latin typeface="Avenir Next LT Pro" panose="020B05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FAC52AE-36CB-5673-1805-D83A8E3AC67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4148" t="14268"/>
          <a:stretch>
            <a:fillRect/>
          </a:stretch>
        </p:blipFill>
        <p:spPr>
          <a:xfrm>
            <a:off x="4572001" y="674355"/>
            <a:ext cx="4181753" cy="3491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1576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749B93-9242-7EF8-F33B-B7A89D1F41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9EF45D-7CB9-9C54-1D30-A554CC6F0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700" y="265250"/>
            <a:ext cx="8520600" cy="572700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Avenir Next LT Pro" panose="020B0504020202020204" pitchFamily="34" charset="0"/>
              </a:rPr>
              <a:t>Gas Timelin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A8276D-AD0D-D3FA-061A-1FE47E0014E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defTabSz="685800"/>
            <a:fld id="{00000000-1234-1234-1234-123412341234}" type="slidenum">
              <a:rPr lang="en"/>
              <a:pPr defTabSz="685800"/>
              <a:t>12</a:t>
            </a:fld>
            <a:endParaRPr lang="e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AE8E29C-7FD6-FEBB-25C8-CEAB9EAFB4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4228" y="951750"/>
            <a:ext cx="6062472" cy="324000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8945CBE-D099-2B7A-6DB1-6A5A5AEFB005}"/>
              </a:ext>
            </a:extLst>
          </p:cNvPr>
          <p:cNvSpPr txBox="1"/>
          <p:nvPr/>
        </p:nvSpPr>
        <p:spPr>
          <a:xfrm>
            <a:off x="163191" y="4278828"/>
            <a:ext cx="7886700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750">
                <a:solidFill>
                  <a:srgbClr val="000000"/>
                </a:solidFill>
                <a:latin typeface="Arial"/>
              </a:rPr>
              <a:t>Sources: NextEra First Quarter 2025 Earnings Conference Call at 4 (April 23,2025); </a:t>
            </a:r>
          </a:p>
        </p:txBody>
      </p:sp>
    </p:spTree>
    <p:extLst>
      <p:ext uri="{BB962C8B-B14F-4D97-AF65-F5344CB8AC3E}">
        <p14:creationId xmlns:p14="http://schemas.microsoft.com/office/powerpoint/2010/main" val="901577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8391D1E-390F-3A6C-F571-001CBFEFAB1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ay 19, 2025| Groton, C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86AAB3-7160-88F9-7AF7-41510EE1D21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Al McBrid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426747-668D-00D5-29DE-BA73F8D6FE8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Vice President, System Plann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A7ED25-A17A-134A-151A-C73DD586E7E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Offshore Wind: Where are We Headed and How Quickly?</a:t>
            </a:r>
          </a:p>
        </p:txBody>
      </p:sp>
    </p:spTree>
    <p:extLst>
      <p:ext uri="{BB962C8B-B14F-4D97-AF65-F5344CB8AC3E}">
        <p14:creationId xmlns:p14="http://schemas.microsoft.com/office/powerpoint/2010/main" val="23839528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385A7D6-77E7-62B0-0B24-92E6ECAC09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Autofit/>
          </a:bodyPr>
          <a:lstStyle/>
          <a:p>
            <a:r>
              <a:rPr lang="en-US" sz="2900" dirty="0"/>
              <a:t>Increased Electrification is Expected to Drive Steady Growth in Net Annual Energy Use </a:t>
            </a:r>
            <a:br>
              <a:rPr lang="en-US" sz="2400" dirty="0"/>
            </a:br>
            <a:r>
              <a:rPr lang="en-US" sz="1800" b="0" i="1" dirty="0"/>
              <a:t>Following two decades of decreased net energy use as a result of state policies incentivizing solar PV and energy efficiency</a:t>
            </a:r>
            <a:endParaRPr lang="en-US" sz="200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135BEBF-E34C-9640-F90C-00A9C6343F4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C7F894-2A36-495D-AB7C-1055F7AC0F9D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639988" y="4463179"/>
            <a:ext cx="81688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900" dirty="0">
                <a:latin typeface="Aptos" panose="020B0004020202020204" pitchFamily="34" charset="0"/>
              </a:rPr>
              <a:t>Source:  </a:t>
            </a:r>
            <a:r>
              <a:rPr lang="en-US" sz="900" dirty="0">
                <a:latin typeface="Aptos" panose="020B00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SO New England 2025-2034 Forecast Report of Capacity, Energy, Loads, and Transmission </a:t>
            </a:r>
            <a:r>
              <a:rPr lang="en-US" sz="900" dirty="0">
                <a:latin typeface="Aptos" panose="020B0004020202020204" pitchFamily="34" charset="0"/>
              </a:rPr>
              <a:t>(2025 CELT Report) (May 2025)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B70BEDD6-5367-4676-96FD-4328B9B431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9759693"/>
              </p:ext>
            </p:extLst>
          </p:nvPr>
        </p:nvGraphicFramePr>
        <p:xfrm>
          <a:off x="457200" y="1657350"/>
          <a:ext cx="8458200" cy="28090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971562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6C7BBE-78F6-A3D9-51EB-EDAEB6D5DF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181" y="128587"/>
            <a:ext cx="8229600" cy="857250"/>
          </a:xfrm>
        </p:spPr>
        <p:txBody>
          <a:bodyPr>
            <a:normAutofit fontScale="90000"/>
          </a:bodyPr>
          <a:lstStyle/>
          <a:p>
            <a:r>
              <a:rPr lang="en-US" dirty="0"/>
              <a:t>Average Annual Buildout Necessary to Achieve State Goals by 2050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8A6058-0C17-CBF0-917E-071B40BCCE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C7F894-2A36-495D-AB7C-1055F7AC0F9D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D1AF4A7-0410-76B0-49AA-B0506FCC8229}"/>
              </a:ext>
            </a:extLst>
          </p:cNvPr>
          <p:cNvSpPr txBox="1"/>
          <p:nvPr/>
        </p:nvSpPr>
        <p:spPr>
          <a:xfrm>
            <a:off x="30938" y="4449204"/>
            <a:ext cx="914400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900" dirty="0">
                <a:latin typeface="Aptos" panose="020B0004020202020204" pitchFamily="34" charset="0"/>
              </a:rPr>
              <a:t>Source: </a:t>
            </a:r>
            <a:r>
              <a:rPr lang="en-US" sz="900" dirty="0">
                <a:latin typeface="Aptos" panose="020B00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conomic Planning for the Clean Energy Transition: Illuminating the Challenges of Tomorrow’s Grid</a:t>
            </a:r>
            <a:endParaRPr lang="en-US" sz="900" dirty="0">
              <a:latin typeface="Aptos" panose="020B0004020202020204" pitchFamily="34" charset="0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D7BC2E2-99B7-ECAC-1122-447F52EDCA72}"/>
              </a:ext>
            </a:extLst>
          </p:cNvPr>
          <p:cNvGrpSpPr/>
          <p:nvPr/>
        </p:nvGrpSpPr>
        <p:grpSpPr>
          <a:xfrm>
            <a:off x="990600" y="1195154"/>
            <a:ext cx="7429500" cy="2973296"/>
            <a:chOff x="914400" y="1198654"/>
            <a:chExt cx="7429500" cy="2973296"/>
          </a:xfrm>
        </p:grpSpPr>
        <p:pic>
          <p:nvPicPr>
            <p:cNvPr id="7" name="Picture 6" descr="A group of windmills in water&#10;&#10;AI-generated content may be incorrect.">
              <a:extLst>
                <a:ext uri="{FF2B5EF4-FFF2-40B4-BE49-F238E27FC236}">
                  <a16:creationId xmlns:a16="http://schemas.microsoft.com/office/drawing/2014/main" id="{83857883-C7BF-E96A-F24A-BE563FBCB9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4400" y="1198654"/>
              <a:ext cx="1371600" cy="1373096"/>
            </a:xfrm>
            <a:prstGeom prst="ellipse">
              <a:avLst/>
            </a:prstGeom>
          </p:spPr>
        </p:pic>
        <p:pic>
          <p:nvPicPr>
            <p:cNvPr id="9" name="Picture 8" descr="A group of windmills in a field&#10;&#10;AI-generated content may be incorrect.">
              <a:extLst>
                <a:ext uri="{FF2B5EF4-FFF2-40B4-BE49-F238E27FC236}">
                  <a16:creationId xmlns:a16="http://schemas.microsoft.com/office/drawing/2014/main" id="{97243F67-E422-72A8-4CF8-C299B988507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4400" y="2798854"/>
              <a:ext cx="1371600" cy="1373096"/>
            </a:xfrm>
            <a:prstGeom prst="ellipse">
              <a:avLst/>
            </a:prstGeom>
          </p:spPr>
        </p:pic>
        <p:pic>
          <p:nvPicPr>
            <p:cNvPr id="12" name="Picture 11" descr="A battery in a blue circle&#10;&#10;AI-generated content may be incorrect.">
              <a:extLst>
                <a:ext uri="{FF2B5EF4-FFF2-40B4-BE49-F238E27FC236}">
                  <a16:creationId xmlns:a16="http://schemas.microsoft.com/office/drawing/2014/main" id="{82E7D53A-14A8-8A3D-FF20-0C77ADD8F1D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097" t="7210" r="7588" b="6270"/>
            <a:stretch/>
          </p:blipFill>
          <p:spPr>
            <a:xfrm>
              <a:off x="4800600" y="2803781"/>
              <a:ext cx="1371600" cy="1368169"/>
            </a:xfrm>
            <a:prstGeom prst="ellipse">
              <a:avLst/>
            </a:prstGeom>
          </p:spPr>
        </p:pic>
        <p:pic>
          <p:nvPicPr>
            <p:cNvPr id="16" name="Picture 15" descr="A solar panels in a field&#10;&#10;AI-generated content may be incorrect.">
              <a:extLst>
                <a:ext uri="{FF2B5EF4-FFF2-40B4-BE49-F238E27FC236}">
                  <a16:creationId xmlns:a16="http://schemas.microsoft.com/office/drawing/2014/main" id="{BC50B7F9-FB6E-A8AF-5031-9EC837E4B77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0600" y="1200150"/>
              <a:ext cx="1371600" cy="1371600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D217253-E345-CF90-0A91-6A4DD010C5AF}"/>
                </a:ext>
              </a:extLst>
            </p:cNvPr>
            <p:cNvSpPr txBox="1"/>
            <p:nvPr/>
          </p:nvSpPr>
          <p:spPr>
            <a:xfrm>
              <a:off x="2458453" y="1344670"/>
              <a:ext cx="19050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>
                  <a:solidFill>
                    <a:schemeClr val="accent1"/>
                  </a:solidFill>
                  <a:latin typeface="Aptos" panose="020B0004020202020204" pitchFamily="34" charset="0"/>
                </a:rPr>
                <a:t>1,293 MW</a:t>
              </a:r>
            </a:p>
            <a:p>
              <a:r>
                <a:rPr lang="en-US" sz="2000" dirty="0">
                  <a:solidFill>
                    <a:srgbClr val="000000"/>
                  </a:solidFill>
                  <a:latin typeface="Aptos" panose="020B0004020202020204" pitchFamily="34" charset="0"/>
                </a:rPr>
                <a:t>per year of offshore wind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AFDC3D7-88AA-19CE-BDA4-FBB5DA251752}"/>
                </a:ext>
              </a:extLst>
            </p:cNvPr>
            <p:cNvSpPr txBox="1"/>
            <p:nvPr/>
          </p:nvSpPr>
          <p:spPr>
            <a:xfrm>
              <a:off x="2458453" y="2946793"/>
              <a:ext cx="20574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>
                  <a:solidFill>
                    <a:schemeClr val="accent1"/>
                  </a:solidFill>
                  <a:latin typeface="Aptos" panose="020B0004020202020204" pitchFamily="34" charset="0"/>
                </a:rPr>
                <a:t>268 MW</a:t>
              </a:r>
            </a:p>
            <a:p>
              <a:r>
                <a:rPr lang="en-US" sz="2000" dirty="0">
                  <a:solidFill>
                    <a:srgbClr val="000000"/>
                  </a:solidFill>
                  <a:latin typeface="Aptos" panose="020B0004020202020204" pitchFamily="34" charset="0"/>
                </a:rPr>
                <a:t>per year of </a:t>
              </a:r>
              <a:br>
                <a:rPr lang="en-US" sz="2000" dirty="0">
                  <a:solidFill>
                    <a:srgbClr val="000000"/>
                  </a:solidFill>
                  <a:latin typeface="Aptos" panose="020B0004020202020204" pitchFamily="34" charset="0"/>
                </a:rPr>
              </a:br>
              <a:r>
                <a:rPr lang="en-US" sz="2000" dirty="0">
                  <a:solidFill>
                    <a:srgbClr val="000000"/>
                  </a:solidFill>
                  <a:latin typeface="Aptos" panose="020B0004020202020204" pitchFamily="34" charset="0"/>
                </a:rPr>
                <a:t>land-based wind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383356F-8DCC-DA53-C40A-A1C9937BCD9C}"/>
                </a:ext>
              </a:extLst>
            </p:cNvPr>
            <p:cNvSpPr txBox="1"/>
            <p:nvPr/>
          </p:nvSpPr>
          <p:spPr>
            <a:xfrm>
              <a:off x="6438900" y="1341929"/>
              <a:ext cx="19050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>
                  <a:solidFill>
                    <a:schemeClr val="accent1"/>
                  </a:solidFill>
                  <a:latin typeface="Aptos" panose="020B0004020202020204" pitchFamily="34" charset="0"/>
                </a:rPr>
                <a:t>955 MW</a:t>
              </a:r>
            </a:p>
            <a:p>
              <a:r>
                <a:rPr lang="en-US" sz="2000" dirty="0">
                  <a:solidFill>
                    <a:srgbClr val="000000"/>
                  </a:solidFill>
                  <a:latin typeface="Aptos" panose="020B0004020202020204" pitchFamily="34" charset="0"/>
                </a:rPr>
                <a:t>per year of solar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2FEB3291-C2F2-175F-D52B-EDB2ABCD2350}"/>
                </a:ext>
              </a:extLst>
            </p:cNvPr>
            <p:cNvSpPr txBox="1"/>
            <p:nvPr/>
          </p:nvSpPr>
          <p:spPr>
            <a:xfrm>
              <a:off x="6438900" y="2946793"/>
              <a:ext cx="1905000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b="1" dirty="0">
                  <a:solidFill>
                    <a:schemeClr val="accent1"/>
                  </a:solidFill>
                  <a:latin typeface="Aptos" panose="020B0004020202020204" pitchFamily="34" charset="0"/>
                </a:rPr>
                <a:t>952 MW</a:t>
              </a:r>
            </a:p>
            <a:p>
              <a:r>
                <a:rPr lang="en-US" sz="2000" dirty="0">
                  <a:solidFill>
                    <a:srgbClr val="000000"/>
                  </a:solidFill>
                  <a:latin typeface="Aptos" panose="020B0004020202020204" pitchFamily="34" charset="0"/>
                </a:rPr>
                <a:t>per year of batteries</a:t>
              </a:r>
            </a:p>
          </p:txBody>
        </p:sp>
      </p:grp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A879173-705E-9E5F-22EB-44B63A602ADB}"/>
              </a:ext>
            </a:extLst>
          </p:cNvPr>
          <p:cNvSpPr/>
          <p:nvPr/>
        </p:nvSpPr>
        <p:spPr>
          <a:xfrm>
            <a:off x="791571" y="1096753"/>
            <a:ext cx="3613673" cy="1581808"/>
          </a:xfrm>
          <a:prstGeom prst="roundRect">
            <a:avLst/>
          </a:prstGeom>
          <a:noFill/>
          <a:ln>
            <a:solidFill>
              <a:srgbClr val="7EBF62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02295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D2740E-EA9B-C951-41B8-A64DDA3E41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06C1B76-C0B7-61ED-FE1F-F35E9A2F1B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C7F894-2A36-495D-AB7C-1055F7AC0F9D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279BBD-73A9-A16E-1709-AB0E78AC5BAC}"/>
              </a:ext>
            </a:extLst>
          </p:cNvPr>
          <p:cNvSpPr txBox="1"/>
          <p:nvPr/>
        </p:nvSpPr>
        <p:spPr>
          <a:xfrm>
            <a:off x="457200" y="745488"/>
            <a:ext cx="8229600" cy="35548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1C282E"/>
                </a:solidFill>
                <a:effectLst/>
                <a:latin typeface="Aptos" panose="020B0004020202020204" pitchFamily="34" charset="0"/>
              </a:rPr>
              <a:t>In March, ISO published a </a:t>
            </a:r>
            <a:r>
              <a:rPr lang="en-US" b="0" i="1" u="sng" dirty="0">
                <a:solidFill>
                  <a:srgbClr val="1999D8"/>
                </a:solidFill>
                <a:effectLst/>
                <a:latin typeface="Aptos" panose="020B0004020202020204" pitchFamily="34" charset="0"/>
                <a:hlinkClick r:id="rId3"/>
              </a:rPr>
              <a:t>2050 Transmission Study: Offshore Wind Analysis</a:t>
            </a:r>
            <a:r>
              <a:rPr lang="en-US" b="0" i="0" dirty="0">
                <a:solidFill>
                  <a:srgbClr val="1C282E"/>
                </a:solidFill>
                <a:effectLst/>
                <a:latin typeface="Aptos" panose="020B0004020202020204" pitchFamily="34" charset="0"/>
              </a:rPr>
              <a:t> </a:t>
            </a:r>
          </a:p>
          <a:p>
            <a:pPr marL="742950" lvl="1" indent="-285750">
              <a:spcAft>
                <a:spcPts val="1800"/>
              </a:spcAft>
              <a:buFont typeface="Arial" pitchFamily="34" charset="0"/>
              <a:buChar char="–"/>
            </a:pPr>
            <a:r>
              <a:rPr lang="en-US" sz="1600" dirty="0">
                <a:solidFill>
                  <a:srgbClr val="000000"/>
                </a:solidFill>
                <a:latin typeface="Aptos" panose="020B0004020202020204" pitchFamily="34" charset="0"/>
              </a:rPr>
              <a:t>Stakeholders requested the OSW analysis as a follow-up to the </a:t>
            </a:r>
            <a:r>
              <a:rPr lang="en-US" sz="1600" i="1" u="sng" dirty="0">
                <a:solidFill>
                  <a:srgbClr val="1999D8"/>
                </a:solidFill>
                <a:latin typeface="Aptos" panose="020B00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2050 Transmission Study</a:t>
            </a:r>
            <a:r>
              <a:rPr lang="en-US" sz="1600" dirty="0">
                <a:solidFill>
                  <a:srgbClr val="000000"/>
                </a:solidFill>
                <a:latin typeface="Aptos" panose="020B0004020202020204" pitchFamily="34" charset="0"/>
              </a:rPr>
              <a:t> (Feb 2024), which identified high-likelihood concerns, roadmaps, and estimated costs to inform stakeholders of transmission infrastructure needed to provide reliable, cost-effective energy to NE throughout the clean energy transition</a:t>
            </a:r>
          </a:p>
          <a:p>
            <a:pPr marL="285750" lvl="1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pc="-20" dirty="0">
                <a:solidFill>
                  <a:srgbClr val="1C282E"/>
                </a:solidFill>
                <a:latin typeface="Aptos" panose="020B0004020202020204" pitchFamily="34" charset="0"/>
              </a:rPr>
              <a:t>The analysis examined </a:t>
            </a:r>
            <a:r>
              <a:rPr lang="en-US" b="1" spc="-20" dirty="0">
                <a:solidFill>
                  <a:srgbClr val="1C282E"/>
                </a:solidFill>
                <a:latin typeface="Aptos" panose="020B0004020202020204" pitchFamily="34" charset="0"/>
              </a:rPr>
              <a:t>50 possible interconnection points</a:t>
            </a:r>
            <a:r>
              <a:rPr lang="en-US" spc="-20" dirty="0">
                <a:solidFill>
                  <a:srgbClr val="1C282E"/>
                </a:solidFill>
                <a:latin typeface="Aptos" panose="020B0004020202020204" pitchFamily="34" charset="0"/>
              </a:rPr>
              <a:t> within</a:t>
            </a:r>
            <a:br>
              <a:rPr lang="en-US" spc="-20" dirty="0">
                <a:solidFill>
                  <a:srgbClr val="1C282E"/>
                </a:solidFill>
                <a:latin typeface="Aptos" panose="020B0004020202020204" pitchFamily="34" charset="0"/>
              </a:rPr>
            </a:br>
            <a:r>
              <a:rPr lang="en-US" spc="-20" dirty="0">
                <a:solidFill>
                  <a:srgbClr val="1C282E"/>
                </a:solidFill>
                <a:latin typeface="Aptos" panose="020B0004020202020204" pitchFamily="34" charset="0"/>
              </a:rPr>
              <a:t>20 miles of the coast, and simulated the regional transmission </a:t>
            </a:r>
            <a:br>
              <a:rPr lang="en-US" spc="-20" dirty="0">
                <a:solidFill>
                  <a:srgbClr val="1C282E"/>
                </a:solidFill>
                <a:latin typeface="Aptos" panose="020B0004020202020204" pitchFamily="34" charset="0"/>
              </a:rPr>
            </a:br>
            <a:r>
              <a:rPr lang="en-US" spc="-20" dirty="0">
                <a:solidFill>
                  <a:srgbClr val="1C282E"/>
                </a:solidFill>
                <a:latin typeface="Aptos" panose="020B0004020202020204" pitchFamily="34" charset="0"/>
              </a:rPr>
              <a:t>system under a variety of electrical demand conditions in which </a:t>
            </a:r>
            <a:br>
              <a:rPr lang="en-US" spc="-20" dirty="0">
                <a:solidFill>
                  <a:srgbClr val="1C282E"/>
                </a:solidFill>
                <a:latin typeface="Aptos" panose="020B0004020202020204" pitchFamily="34" charset="0"/>
              </a:rPr>
            </a:br>
            <a:r>
              <a:rPr lang="en-US" spc="-20" dirty="0">
                <a:solidFill>
                  <a:srgbClr val="1C282E"/>
                </a:solidFill>
                <a:latin typeface="Aptos" panose="020B0004020202020204" pitchFamily="34" charset="0"/>
              </a:rPr>
              <a:t>potential wind farms operated at full outpu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1C282E"/>
                </a:solidFill>
                <a:effectLst/>
                <a:latin typeface="Aptos" panose="020B0004020202020204" pitchFamily="34" charset="0"/>
              </a:rPr>
              <a:t>While the study refers to potential interconnected resources as</a:t>
            </a:r>
            <a:br>
              <a:rPr lang="en-US" b="0" i="0" dirty="0">
                <a:solidFill>
                  <a:srgbClr val="1C282E"/>
                </a:solidFill>
                <a:effectLst/>
                <a:latin typeface="Aptos" panose="020B0004020202020204" pitchFamily="34" charset="0"/>
              </a:rPr>
            </a:br>
            <a:r>
              <a:rPr lang="en-US" b="0" i="0" dirty="0">
                <a:solidFill>
                  <a:srgbClr val="1C282E"/>
                </a:solidFill>
                <a:effectLst/>
                <a:latin typeface="Aptos" panose="020B0004020202020204" pitchFamily="34" charset="0"/>
              </a:rPr>
              <a:t>OSW, the injections studied could represent </a:t>
            </a:r>
            <a:r>
              <a:rPr lang="en-US" b="1" i="0" dirty="0">
                <a:solidFill>
                  <a:srgbClr val="1C282E"/>
                </a:solidFill>
                <a:effectLst/>
                <a:latin typeface="Aptos" panose="020B0004020202020204" pitchFamily="34" charset="0"/>
              </a:rPr>
              <a:t>any resource typ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838272C-ED19-C71D-EE5B-68B13298D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7150"/>
            <a:ext cx="8534400" cy="857250"/>
          </a:xfrm>
        </p:spPr>
        <p:txBody>
          <a:bodyPr>
            <a:normAutofit fontScale="90000"/>
          </a:bodyPr>
          <a:lstStyle/>
          <a:p>
            <a:r>
              <a:rPr lang="en-US" sz="3200" dirty="0"/>
              <a:t>2050 Transmission Study: Offshore Wind Analysis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30F1310-A521-7DE5-2E8E-3EE1338D628E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8983" t="7284" r="-491" b="-7284"/>
          <a:stretch/>
        </p:blipFill>
        <p:spPr>
          <a:xfrm>
            <a:off x="7253425" y="2340612"/>
            <a:ext cx="1773894" cy="205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7108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987D66-684D-1549-AD59-516D18FDA2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5EB6678-FFFA-EB3E-2554-7D5381E358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C7F894-2A36-495D-AB7C-1055F7AC0F9D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9FEF6E-A58C-1250-89F6-29840FA1A3B2}"/>
              </a:ext>
            </a:extLst>
          </p:cNvPr>
          <p:cNvSpPr txBox="1"/>
          <p:nvPr/>
        </p:nvSpPr>
        <p:spPr>
          <a:xfrm>
            <a:off x="457200" y="914400"/>
            <a:ext cx="8534400" cy="39292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1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</a:rPr>
              <a:t>The report highlights </a:t>
            </a:r>
            <a:r>
              <a:rPr lang="en-US" dirty="0">
                <a:solidFill>
                  <a:srgbClr val="1C282E"/>
                </a:solidFill>
                <a:latin typeface="Aptos" panose="020B0004020202020204" pitchFamily="34" charset="0"/>
              </a:rPr>
              <a:t>the importance of </a:t>
            </a:r>
            <a:r>
              <a:rPr lang="en-US" b="1" dirty="0">
                <a:solidFill>
                  <a:srgbClr val="1C282E"/>
                </a:solidFill>
                <a:latin typeface="Aptos" panose="020B0004020202020204" pitchFamily="34" charset="0"/>
              </a:rPr>
              <a:t>holistic planning</a:t>
            </a:r>
            <a:r>
              <a:rPr lang="en-US" dirty="0">
                <a:solidFill>
                  <a:srgbClr val="1C282E"/>
                </a:solidFill>
                <a:latin typeface="Aptos" panose="020B0004020202020204" pitchFamily="34" charset="0"/>
              </a:rPr>
              <a:t> and </a:t>
            </a:r>
            <a:br>
              <a:rPr lang="en-US" dirty="0">
                <a:solidFill>
                  <a:srgbClr val="1C282E"/>
                </a:solidFill>
                <a:latin typeface="Aptos" panose="020B0004020202020204" pitchFamily="34" charset="0"/>
              </a:rPr>
            </a:br>
            <a:r>
              <a:rPr lang="en-US" b="1" dirty="0">
                <a:solidFill>
                  <a:srgbClr val="1C282E"/>
                </a:solidFill>
                <a:latin typeface="Aptos" panose="020B0004020202020204" pitchFamily="34" charset="0"/>
              </a:rPr>
              <a:t>coordination between states</a:t>
            </a:r>
            <a:r>
              <a:rPr lang="en-US" dirty="0">
                <a:solidFill>
                  <a:srgbClr val="1C282E"/>
                </a:solidFill>
                <a:latin typeface="Aptos" panose="020B0004020202020204" pitchFamily="34" charset="0"/>
              </a:rPr>
              <a:t> in the construction of OSW </a:t>
            </a:r>
            <a:br>
              <a:rPr lang="en-US" dirty="0">
                <a:solidFill>
                  <a:srgbClr val="1C282E"/>
                </a:solidFill>
                <a:latin typeface="Aptos" panose="020B0004020202020204" pitchFamily="34" charset="0"/>
              </a:rPr>
            </a:br>
            <a:r>
              <a:rPr lang="en-US" dirty="0">
                <a:solidFill>
                  <a:srgbClr val="1C282E"/>
                </a:solidFill>
                <a:latin typeface="Aptos" panose="020B0004020202020204" pitchFamily="34" charset="0"/>
              </a:rPr>
              <a:t>within the existing transmission system </a:t>
            </a:r>
          </a:p>
          <a:p>
            <a:pPr marL="285750" lvl="1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</a:rPr>
              <a:t>Connecting some of the initial study’s hypothetical future OSW </a:t>
            </a:r>
            <a:br>
              <a:rPr lang="en-US" dirty="0">
                <a:solidFill>
                  <a:srgbClr val="000000"/>
                </a:solidFill>
                <a:latin typeface="Aptos" panose="020B0004020202020204" pitchFamily="34" charset="0"/>
              </a:rPr>
            </a:br>
            <a:r>
              <a:rPr lang="en-US" b="1" dirty="0">
                <a:solidFill>
                  <a:srgbClr val="000000"/>
                </a:solidFill>
                <a:latin typeface="Aptos" panose="020B0004020202020204" pitchFamily="34" charset="0"/>
              </a:rPr>
              <a:t>further south </a:t>
            </a:r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</a:rPr>
              <a:t>could reduce necessary upgrades</a:t>
            </a:r>
          </a:p>
          <a:p>
            <a:pPr marL="285750" lvl="1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0000"/>
                </a:solidFill>
                <a:latin typeface="Aptos" panose="020B0004020202020204" pitchFamily="34" charset="0"/>
              </a:rPr>
              <a:t>~9,600 MW </a:t>
            </a:r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</a:rPr>
              <a:t>of OSW may be able to interconnect in the region</a:t>
            </a:r>
            <a:br>
              <a:rPr lang="en-US" dirty="0">
                <a:solidFill>
                  <a:srgbClr val="000000"/>
                </a:solidFill>
                <a:latin typeface="Aptos" panose="020B0004020202020204" pitchFamily="34" charset="0"/>
              </a:rPr>
            </a:br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</a:rPr>
              <a:t>and operate simultaneously without major transmission </a:t>
            </a:r>
            <a:br>
              <a:rPr lang="en-US" dirty="0">
                <a:solidFill>
                  <a:srgbClr val="000000"/>
                </a:solidFill>
                <a:latin typeface="Aptos" panose="020B0004020202020204" pitchFamily="34" charset="0"/>
              </a:rPr>
            </a:br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</a:rPr>
              <a:t>upgrades or significant curtailment</a:t>
            </a:r>
          </a:p>
          <a:p>
            <a:pPr marL="285750" lvl="1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</a:rPr>
              <a:t>~20 substations near New England’s coastline may be suitable </a:t>
            </a:r>
            <a:br>
              <a:rPr lang="en-US" dirty="0">
                <a:solidFill>
                  <a:srgbClr val="000000"/>
                </a:solidFill>
                <a:latin typeface="Aptos" panose="020B0004020202020204" pitchFamily="34" charset="0"/>
              </a:rPr>
            </a:br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</a:rPr>
              <a:t>for interconnecting </a:t>
            </a:r>
            <a:r>
              <a:rPr lang="en-US" b="1" dirty="0">
                <a:solidFill>
                  <a:srgbClr val="000000"/>
                </a:solidFill>
                <a:latin typeface="Aptos" panose="020B0004020202020204" pitchFamily="34" charset="0"/>
              </a:rPr>
              <a:t>1,200 MW </a:t>
            </a:r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</a:rPr>
              <a:t>of OSW without new or upgraded </a:t>
            </a:r>
            <a:br>
              <a:rPr lang="en-US" dirty="0">
                <a:solidFill>
                  <a:srgbClr val="000000"/>
                </a:solidFill>
                <a:latin typeface="Aptos" panose="020B0004020202020204" pitchFamily="34" charset="0"/>
              </a:rPr>
            </a:br>
            <a:r>
              <a:rPr lang="en-US" dirty="0">
                <a:solidFill>
                  <a:srgbClr val="000000"/>
                </a:solidFill>
                <a:latin typeface="Aptos" panose="020B0004020202020204" pitchFamily="34" charset="0"/>
              </a:rPr>
              <a:t>transmission infrastructure</a:t>
            </a:r>
          </a:p>
          <a:p>
            <a:pPr marL="285750" lvl="1" indent="-285750">
              <a:spcAft>
                <a:spcPts val="1000"/>
              </a:spcAft>
              <a:buFont typeface="Arial" panose="020B0604020202020204" pitchFamily="34" charset="0"/>
              <a:buChar char="•"/>
            </a:pPr>
            <a:endParaRPr lang="en-US" dirty="0">
              <a:solidFill>
                <a:srgbClr val="000000"/>
              </a:solidFill>
              <a:latin typeface="Aptos" panose="020B00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7CDCE6-52F7-68B8-8F90-CB149CD53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7150"/>
            <a:ext cx="8534400" cy="857250"/>
          </a:xfrm>
        </p:spPr>
        <p:txBody>
          <a:bodyPr>
            <a:normAutofit fontScale="90000"/>
          </a:bodyPr>
          <a:lstStyle/>
          <a:p>
            <a:r>
              <a:rPr lang="en-US" sz="3200" dirty="0"/>
              <a:t>2050 Transmission Study: Offshore Wind Analysis</a:t>
            </a:r>
            <a:br>
              <a:rPr lang="en-US" sz="3200" dirty="0"/>
            </a:br>
            <a:r>
              <a:rPr lang="en-US" sz="2000" b="0" i="1" dirty="0"/>
              <a:t>Key Takeaways</a:t>
            </a:r>
            <a:endParaRPr lang="en-US" b="0" i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0DA6352-555B-0582-F70F-F201C2D35E7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1722"/>
          <a:stretch/>
        </p:blipFill>
        <p:spPr>
          <a:xfrm>
            <a:off x="7177087" y="2386805"/>
            <a:ext cx="1828800" cy="203279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D05E541-572A-8C47-5A5B-5684685D923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50865"/>
          <a:stretch/>
        </p:blipFill>
        <p:spPr>
          <a:xfrm>
            <a:off x="7024687" y="914400"/>
            <a:ext cx="1828800" cy="19973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60F025E-585F-6D88-3B05-69D651076B61}"/>
              </a:ext>
            </a:extLst>
          </p:cNvPr>
          <p:cNvSpPr txBox="1"/>
          <p:nvPr/>
        </p:nvSpPr>
        <p:spPr>
          <a:xfrm>
            <a:off x="7177087" y="2911748"/>
            <a:ext cx="823913" cy="230832"/>
          </a:xfrm>
          <a:prstGeom prst="rect">
            <a:avLst/>
          </a:prstGeom>
          <a:solidFill>
            <a:srgbClr val="D6E5C8">
              <a:alpha val="50000"/>
            </a:srgbClr>
          </a:solidFill>
        </p:spPr>
        <p:txBody>
          <a:bodyPr wrap="square" rtlCol="0">
            <a:spAutoFit/>
          </a:bodyPr>
          <a:lstStyle/>
          <a:p>
            <a:r>
              <a:rPr lang="en-US" sz="900" b="1" dirty="0">
                <a:solidFill>
                  <a:srgbClr val="000000"/>
                </a:solidFill>
                <a:latin typeface="Aptos" panose="020B0004020202020204" pitchFamily="34" charset="0"/>
              </a:rPr>
              <a:t>Relocations</a:t>
            </a:r>
          </a:p>
        </p:txBody>
      </p:sp>
    </p:spTree>
    <p:extLst>
      <p:ext uri="{BB962C8B-B14F-4D97-AF65-F5344CB8AC3E}">
        <p14:creationId xmlns:p14="http://schemas.microsoft.com/office/powerpoint/2010/main" val="30577562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01B5D0-D93F-B8A1-A982-8EC393D800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wind turbine and solar panels&#10;&#10;AI-generated content may be incorrect.">
            <a:extLst>
              <a:ext uri="{FF2B5EF4-FFF2-40B4-BE49-F238E27FC236}">
                <a16:creationId xmlns:a16="http://schemas.microsoft.com/office/drawing/2014/main" id="{FD6FE070-3399-50A1-6432-4F75F4D4902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8" b="2422"/>
          <a:stretch/>
        </p:blipFill>
        <p:spPr>
          <a:xfrm>
            <a:off x="7116818" y="3122885"/>
            <a:ext cx="1800083" cy="14367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E6D36C-D9B1-158B-9F30-F274AE1D3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57150"/>
            <a:ext cx="8458200" cy="857250"/>
          </a:xfrm>
        </p:spPr>
        <p:txBody>
          <a:bodyPr>
            <a:normAutofit/>
          </a:bodyPr>
          <a:lstStyle/>
          <a:p>
            <a:r>
              <a:rPr lang="en-US" sz="3200" dirty="0"/>
              <a:t>Offshore Wind and Winter Reliability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7A7D18F-7A5A-62B2-826C-275B413BA9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C7F894-2A36-495D-AB7C-1055F7AC0F9D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BEDBBF3-F41F-7920-897F-56492DCADDE2}"/>
              </a:ext>
            </a:extLst>
          </p:cNvPr>
          <p:cNvSpPr txBox="1"/>
          <p:nvPr/>
        </p:nvSpPr>
        <p:spPr>
          <a:xfrm>
            <a:off x="434283" y="819150"/>
            <a:ext cx="8633517" cy="35855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000000"/>
                </a:solidFill>
                <a:latin typeface="Aptos" panose="020B0004020202020204" pitchFamily="34" charset="0"/>
              </a:rPr>
              <a:t>The </a:t>
            </a:r>
            <a:r>
              <a:rPr lang="en-US" sz="1700" b="1" dirty="0">
                <a:solidFill>
                  <a:srgbClr val="000000"/>
                </a:solidFill>
                <a:latin typeface="Aptos" panose="020B0004020202020204" pitchFamily="34" charset="0"/>
                <a:hlinkClick r:id="rId3"/>
              </a:rPr>
              <a:t>Operational Impact of Extreme Weather Events study</a:t>
            </a:r>
            <a:r>
              <a:rPr lang="en-US" sz="1700" b="1" dirty="0">
                <a:solidFill>
                  <a:srgbClr val="000000"/>
                </a:solidFill>
                <a:latin typeface="Aptos" panose="020B0004020202020204" pitchFamily="34" charset="0"/>
              </a:rPr>
              <a:t> </a:t>
            </a:r>
            <a:r>
              <a:rPr lang="en-US" sz="1700" dirty="0">
                <a:solidFill>
                  <a:srgbClr val="000000"/>
                </a:solidFill>
                <a:latin typeface="Aptos" panose="020B0004020202020204" pitchFamily="34" charset="0"/>
              </a:rPr>
              <a:t>examined how the region’s power system would fare under stressful future weather and operational conditions</a:t>
            </a:r>
            <a:endParaRPr lang="en-US">
              <a:ea typeface="Calibri"/>
              <a:cs typeface="Calibri"/>
            </a:endParaRPr>
          </a:p>
          <a:p>
            <a:pPr marL="742950" lvl="1" indent="-285750">
              <a:spcAft>
                <a:spcPts val="300"/>
              </a:spcAft>
              <a:buFont typeface="Arial" pitchFamily="34" charset="0"/>
              <a:buChar char="–"/>
            </a:pPr>
            <a:r>
              <a:rPr lang="en-US" sz="1500" dirty="0">
                <a:solidFill>
                  <a:srgbClr val="000000"/>
                </a:solidFill>
                <a:latin typeface="Aptos"/>
              </a:rPr>
              <a:t>The study created a framework for ongoing assessments: the </a:t>
            </a:r>
            <a:r>
              <a:rPr lang="en-US" sz="1500" b="1" dirty="0">
                <a:solidFill>
                  <a:srgbClr val="000000"/>
                </a:solidFill>
                <a:latin typeface="Aptos"/>
              </a:rPr>
              <a:t>Probabilistic Energy Adequacy Tool (PEAT) </a:t>
            </a:r>
            <a:r>
              <a:rPr lang="en-US" sz="1500" dirty="0">
                <a:solidFill>
                  <a:srgbClr val="000000"/>
                </a:solidFill>
                <a:latin typeface="Aptos"/>
              </a:rPr>
              <a:t>will help identify circumstances that could lead to an energy shortfall, giving the region’s stakeholders advance warning and the opportunity to take steps to avert it</a:t>
            </a:r>
          </a:p>
          <a:p>
            <a:pPr marL="1200150" lvl="2" indent="-285750"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500" dirty="0">
                <a:solidFill>
                  <a:srgbClr val="000000"/>
                </a:solidFill>
                <a:latin typeface="Aptos"/>
              </a:rPr>
              <a:t>Sensitivity analysis of 2032 worst-case scenarios indicates an increasing energy shortfall risk profile between 2027 and 2032 </a:t>
            </a:r>
          </a:p>
          <a:p>
            <a:pPr marL="1200150" lvl="2" indent="-285750">
              <a:spcAft>
                <a:spcPts val="1200"/>
              </a:spcAft>
              <a:buFont typeface="Courier New" panose="02070309020205020404" pitchFamily="49" charset="0"/>
              <a:buChar char="o"/>
            </a:pPr>
            <a:r>
              <a:rPr lang="en-US" sz="1500" dirty="0">
                <a:solidFill>
                  <a:srgbClr val="000000"/>
                </a:solidFill>
                <a:latin typeface="Aptos"/>
              </a:rPr>
              <a:t>Timely additions of solar, </a:t>
            </a:r>
            <a:r>
              <a:rPr lang="en-US" sz="1500" b="1" dirty="0">
                <a:solidFill>
                  <a:srgbClr val="000000"/>
                </a:solidFill>
                <a:latin typeface="Aptos"/>
              </a:rPr>
              <a:t>offshore wind</a:t>
            </a:r>
            <a:r>
              <a:rPr lang="en-US" sz="1500" dirty="0">
                <a:solidFill>
                  <a:srgbClr val="000000"/>
                </a:solidFill>
                <a:latin typeface="Aptos"/>
              </a:rPr>
              <a:t>, and incremental imports are critical to </a:t>
            </a:r>
            <a:r>
              <a:rPr lang="en-US" sz="1500" b="1" dirty="0">
                <a:solidFill>
                  <a:srgbClr val="000000"/>
                </a:solidFill>
                <a:latin typeface="Aptos"/>
              </a:rPr>
              <a:t>mitigate energy shortfall risks that result from significant winter load growth and retirements </a:t>
            </a:r>
          </a:p>
          <a:p>
            <a:pPr marL="285750" lvl="2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 b="1" dirty="0">
                <a:solidFill>
                  <a:srgbClr val="000000"/>
                </a:solidFill>
                <a:latin typeface="Aptos"/>
              </a:rPr>
              <a:t>OSW resources</a:t>
            </a:r>
            <a:r>
              <a:rPr lang="en-US" sz="1700" dirty="0">
                <a:solidFill>
                  <a:srgbClr val="000000"/>
                </a:solidFill>
                <a:latin typeface="Aptos"/>
              </a:rPr>
              <a:t> can be a steady source of energy that is injected </a:t>
            </a:r>
            <a:br>
              <a:rPr lang="en-US" sz="1700" dirty="0">
                <a:solidFill>
                  <a:srgbClr val="000000"/>
                </a:solidFill>
                <a:latin typeface="Aptos"/>
              </a:rPr>
            </a:br>
            <a:r>
              <a:rPr lang="en-US" sz="1700" dirty="0">
                <a:solidFill>
                  <a:srgbClr val="000000"/>
                </a:solidFill>
                <a:latin typeface="Aptos"/>
              </a:rPr>
              <a:t>directly into major load centers in New England, and their </a:t>
            </a:r>
            <a:br>
              <a:rPr lang="en-US" sz="1700" dirty="0">
                <a:solidFill>
                  <a:srgbClr val="000000"/>
                </a:solidFill>
                <a:latin typeface="Aptos"/>
              </a:rPr>
            </a:br>
            <a:r>
              <a:rPr lang="en-US" sz="1700" b="1" dirty="0">
                <a:solidFill>
                  <a:srgbClr val="000000"/>
                </a:solidFill>
                <a:latin typeface="Aptos"/>
              </a:rPr>
              <a:t>production profile during the winter can help offset the effects </a:t>
            </a:r>
            <a:br>
              <a:rPr lang="en-US" sz="1700" b="1" dirty="0">
                <a:solidFill>
                  <a:srgbClr val="000000"/>
                </a:solidFill>
                <a:latin typeface="Aptos"/>
              </a:rPr>
            </a:br>
            <a:r>
              <a:rPr lang="en-US" sz="1700" b="1" dirty="0">
                <a:solidFill>
                  <a:srgbClr val="000000"/>
                </a:solidFill>
                <a:latin typeface="Aptos"/>
              </a:rPr>
              <a:t>of the constraints on the gas pipeline system</a:t>
            </a:r>
          </a:p>
        </p:txBody>
      </p:sp>
    </p:spTree>
    <p:extLst>
      <p:ext uri="{BB962C8B-B14F-4D97-AF65-F5344CB8AC3E}">
        <p14:creationId xmlns:p14="http://schemas.microsoft.com/office/powerpoint/2010/main" val="38750991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8572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EF46A-3071-8D34-4E50-02A8C1301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700" y="265250"/>
            <a:ext cx="8520600" cy="572700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venir Next LT Pro" panose="020B0504020202020204" pitchFamily="34" charset="0"/>
              </a:rPr>
              <a:t>Winter 2024/2025: The role of Offshore Wind in Regional Energy Mix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4C12C0-CA2F-C7B6-29A8-9EA9F6E110E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defTabSz="685800"/>
            <a:fld id="{00000000-1234-1234-1234-123412341234}" type="slidenum">
              <a:rPr lang="en"/>
              <a:pPr defTabSz="685800"/>
              <a:t>9</a:t>
            </a:fld>
            <a:endParaRPr lang="e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B73D3CA-33CB-E6E6-12C3-06FD65BFA867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311701" y="972699"/>
            <a:ext cx="4149329" cy="3223800"/>
          </a:xfrm>
        </p:spPr>
        <p:txBody>
          <a:bodyPr>
            <a:normAutofit fontScale="77500" lnSpcReduction="20000"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>
                <a:latin typeface="Avenir Next LT Pro"/>
              </a:rPr>
              <a:t>Average wholesale power price in February 2025: $126.40/ MWh (real-time energy market)</a:t>
            </a:r>
          </a:p>
          <a:p>
            <a:pPr marL="557213" lvl="1" indent="-214313">
              <a:buFont typeface="Arial" panose="020B0604020202020204" pitchFamily="34" charset="0"/>
              <a:buChar char="•"/>
            </a:pPr>
            <a:r>
              <a:rPr lang="en-US" sz="1388">
                <a:latin typeface="Avenir Next LT Pro"/>
              </a:rPr>
              <a:t>Up 301% compared to prior year</a:t>
            </a:r>
          </a:p>
          <a:p>
            <a:pPr marL="557213" lvl="1" indent="-214313">
              <a:buFont typeface="Arial" panose="020B0604020202020204" pitchFamily="34" charset="0"/>
              <a:buChar char="•"/>
            </a:pPr>
            <a:r>
              <a:rPr lang="en-US" sz="1388">
                <a:latin typeface="Avenir Next LT Pro"/>
              </a:rPr>
              <a:t>Resource mix: Natural Gas 50.7%, Nuclear 28.5%, Renewables 13.5%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>
                <a:latin typeface="Avenir Next LT Pro"/>
              </a:rPr>
              <a:t>Increasing offshore wind can offset winter peaks</a:t>
            </a:r>
          </a:p>
          <a:p>
            <a:pPr marL="557213" lvl="1" indent="-214313">
              <a:buFont typeface="Arial" panose="020B0604020202020204" pitchFamily="34" charset="0"/>
              <a:buChar char="•"/>
            </a:pPr>
            <a:r>
              <a:rPr lang="en-US" sz="1388">
                <a:latin typeface="Avenir Next LT Pro"/>
              </a:rPr>
              <a:t>High-level assessment for 2017/18 cold spell</a:t>
            </a:r>
          </a:p>
          <a:p>
            <a:pPr marL="557213" lvl="1" indent="-214313">
              <a:buFont typeface="Arial" panose="020B0604020202020204" pitchFamily="34" charset="0"/>
              <a:buChar char="•"/>
            </a:pPr>
            <a:r>
              <a:rPr lang="en-US" sz="1388">
                <a:latin typeface="Avenir Next LT Pro"/>
              </a:rPr>
              <a:t>Just 400 MW of OSW could have avoided $20-25M in production costs</a:t>
            </a:r>
          </a:p>
          <a:p>
            <a:pPr marL="1014413" lvl="2" indent="-214313">
              <a:buFont typeface="Wingdings" panose="020B0604020202020204" pitchFamily="34" charset="0"/>
              <a:buChar char="§"/>
            </a:pPr>
            <a:r>
              <a:rPr lang="en-US" sz="1388">
                <a:latin typeface="Avenir Next LT Pro"/>
              </a:rPr>
              <a:t>600 MW of OSW up to $80-$85M in production costs avoided</a:t>
            </a:r>
          </a:p>
          <a:p>
            <a:pPr marL="557213" lvl="1" indent="-214313">
              <a:buFont typeface="Arial" panose="020B0604020202020204" pitchFamily="34" charset="0"/>
              <a:buChar char="•"/>
            </a:pPr>
            <a:r>
              <a:rPr lang="en-US" sz="1388">
                <a:latin typeface="Avenir Next LT Pro"/>
              </a:rPr>
              <a:t>Decrease in day-ahead LMP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>
                <a:latin typeface="Avenir Next LT Pro"/>
              </a:rPr>
              <a:t>2025 analysis from New York estimated savings of $80M for January 2025</a:t>
            </a:r>
          </a:p>
        </p:txBody>
      </p:sp>
      <p:pic>
        <p:nvPicPr>
          <p:cNvPr id="6" name="Picture Placeholder 6">
            <a:extLst>
              <a:ext uri="{FF2B5EF4-FFF2-40B4-BE49-F238E27FC236}">
                <a16:creationId xmlns:a16="http://schemas.microsoft.com/office/drawing/2014/main" id="{B0187C66-AFC9-D312-D6C0-9C27F1F212E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359" r="4359"/>
          <a:stretch/>
        </p:blipFill>
        <p:spPr>
          <a:xfrm>
            <a:off x="4518734" y="736006"/>
            <a:ext cx="4241800" cy="334936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29AA006-243F-FCF6-6249-2AF552C587EC}"/>
              </a:ext>
            </a:extLst>
          </p:cNvPr>
          <p:cNvSpPr txBox="1"/>
          <p:nvPr/>
        </p:nvSpPr>
        <p:spPr>
          <a:xfrm>
            <a:off x="99874" y="4192146"/>
            <a:ext cx="892128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675">
                <a:solidFill>
                  <a:srgbClr val="000000"/>
                </a:solidFill>
                <a:latin typeface="Avenir Next LT Pro" panose="020B0504020202020204" pitchFamily="34" charset="0"/>
              </a:rPr>
              <a:t>Sources: ISO-News Wire March 26, 2025 (Chart) available at </a:t>
            </a:r>
            <a:r>
              <a:rPr lang="en-US" sz="675">
                <a:solidFill>
                  <a:srgbClr val="000000"/>
                </a:solidFill>
                <a:latin typeface="Avenir Next LT Pro" panose="020B0504020202020204" pitchFamily="34" charset="0"/>
                <a:hlinkClick r:id="rId4"/>
              </a:rPr>
              <a:t>Monthly wholesale electricity prices and demand in New England, February 2025 - ISO Newswire</a:t>
            </a:r>
            <a:r>
              <a:rPr lang="en-US" sz="675">
                <a:solidFill>
                  <a:srgbClr val="000000"/>
                </a:solidFill>
                <a:latin typeface="Avenir Next LT Pro" panose="020B0504020202020204" pitchFamily="34" charset="0"/>
              </a:rPr>
              <a:t>; ISO NEWSIRE December 18, 2018 </a:t>
            </a:r>
            <a:r>
              <a:rPr lang="en-US" sz="675">
                <a:solidFill>
                  <a:srgbClr val="000000"/>
                </a:solidFill>
                <a:latin typeface="Avenir Next LT Pro" panose="020B0504020202020204" pitchFamily="34" charset="0"/>
                <a:hlinkClick r:id="rId5"/>
              </a:rPr>
              <a:t>ISO-NE analyzes potential impact of offshore wind during historic cold spell - ISO Newswire</a:t>
            </a:r>
            <a:r>
              <a:rPr lang="en-US" sz="675">
                <a:solidFill>
                  <a:srgbClr val="000000"/>
                </a:solidFill>
                <a:latin typeface="Avenir Next LT Pro" panose="020B0504020202020204" pitchFamily="34" charset="0"/>
              </a:rPr>
              <a:t>; Aurora Energy Research – Meeting New York’s Energy Needs: Reliability &amp; Offshore Wind, Commissioned by ACENY May 2025</a:t>
            </a:r>
          </a:p>
        </p:txBody>
      </p:sp>
    </p:spTree>
    <p:extLst>
      <p:ext uri="{BB962C8B-B14F-4D97-AF65-F5344CB8AC3E}">
        <p14:creationId xmlns:p14="http://schemas.microsoft.com/office/powerpoint/2010/main" val="9235959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so_white_cover">
  <a:themeElements>
    <a:clrScheme name="ISO-NE">
      <a:dk1>
        <a:srgbClr val="62777F"/>
      </a:dk1>
      <a:lt1>
        <a:srgbClr val="FFFFFF"/>
      </a:lt1>
      <a:dk2>
        <a:srgbClr val="1E6A9A"/>
      </a:dk2>
      <a:lt2>
        <a:srgbClr val="6DCFF6"/>
      </a:lt2>
      <a:accent1>
        <a:srgbClr val="1795D2"/>
      </a:accent1>
      <a:accent2>
        <a:srgbClr val="8555A1"/>
      </a:accent2>
      <a:accent3>
        <a:srgbClr val="77BD2A"/>
      </a:accent3>
      <a:accent4>
        <a:srgbClr val="FBB92F"/>
      </a:accent4>
      <a:accent5>
        <a:srgbClr val="F68920"/>
      </a:accent5>
      <a:accent6>
        <a:srgbClr val="EC1F25"/>
      </a:accent6>
      <a:hlink>
        <a:srgbClr val="1795D2"/>
      </a:hlink>
      <a:folHlink>
        <a:srgbClr val="8555A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-Presentation-Template-16x9-PUBLIC.pptx" id="{8A6EB082-6A7B-4136-A68F-1914E5422E34}" vid="{48587D57-CADC-4DB4-87F2-4F27AB96CDD8}"/>
    </a:ext>
  </a:extLst>
</a:theme>
</file>

<file path=ppt/theme/theme2.xml><?xml version="1.0" encoding="utf-8"?>
<a:theme xmlns:a="http://schemas.openxmlformats.org/drawingml/2006/main" name="blank">
  <a:themeElements>
    <a:clrScheme name="ISO-NE">
      <a:dk1>
        <a:srgbClr val="62777F"/>
      </a:dk1>
      <a:lt1>
        <a:srgbClr val="FFFFFF"/>
      </a:lt1>
      <a:dk2>
        <a:srgbClr val="1E6A9A"/>
      </a:dk2>
      <a:lt2>
        <a:srgbClr val="6DCFF6"/>
      </a:lt2>
      <a:accent1>
        <a:srgbClr val="1795D2"/>
      </a:accent1>
      <a:accent2>
        <a:srgbClr val="8555A1"/>
      </a:accent2>
      <a:accent3>
        <a:srgbClr val="77BD2A"/>
      </a:accent3>
      <a:accent4>
        <a:srgbClr val="FBB92F"/>
      </a:accent4>
      <a:accent5>
        <a:srgbClr val="F68920"/>
      </a:accent5>
      <a:accent6>
        <a:srgbClr val="EC1F25"/>
      </a:accent6>
      <a:hlink>
        <a:srgbClr val="1795D2"/>
      </a:hlink>
      <a:folHlink>
        <a:srgbClr val="8555A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-Presentation-Template-16x9-PUBLIC.pptx" id="{8A6EB082-6A7B-4136-A68F-1914E5422E34}" vid="{07A52199-ABB7-4F3D-803A-5D19517C08A0}"/>
    </a:ext>
  </a:extLst>
</a:theme>
</file>

<file path=ppt/theme/theme3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O PPT Template_  -  Read-Only" id="{ED99BEB6-321C-44FB-93F3-2678797DAACE}" vid="{906A89CD-4934-4ED3-97FC-EFC2023BB783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-Presentation-Template-16x9-PUBLIC</Template>
  <TotalTime>205</TotalTime>
  <Words>1113</Words>
  <Application>Microsoft Office PowerPoint</Application>
  <PresentationFormat>On-screen Show (16:9)</PresentationFormat>
  <Paragraphs>97</Paragraphs>
  <Slides>1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30" baseType="lpstr">
      <vt:lpstr>Aptos</vt:lpstr>
      <vt:lpstr>Arial</vt:lpstr>
      <vt:lpstr>Avenir Next LT Pro</vt:lpstr>
      <vt:lpstr>Calibri</vt:lpstr>
      <vt:lpstr>Calibri Light</vt:lpstr>
      <vt:lpstr>Century Gothic</vt:lpstr>
      <vt:lpstr>Courier New</vt:lpstr>
      <vt:lpstr>EB Garamond</vt:lpstr>
      <vt:lpstr>EB Garamond Medium</vt:lpstr>
      <vt:lpstr>Helvetica Neue</vt:lpstr>
      <vt:lpstr>Helvetica Neue Light</vt:lpstr>
      <vt:lpstr>Times New Roman</vt:lpstr>
      <vt:lpstr>Wingdings</vt:lpstr>
      <vt:lpstr>iso_white_cover</vt:lpstr>
      <vt:lpstr>blank</vt:lpstr>
      <vt:lpstr>Office Theme</vt:lpstr>
      <vt:lpstr>1_Simple Light</vt:lpstr>
      <vt:lpstr>think-cell Slide</vt:lpstr>
      <vt:lpstr>Concurrent Session Offshore Wind: Where are We Headed, and How Quickly? </vt:lpstr>
      <vt:lpstr>PowerPoint Presentation</vt:lpstr>
      <vt:lpstr>Increased Electrification is Expected to Drive Steady Growth in Net Annual Energy Use  Following two decades of decreased net energy use as a result of state policies incentivizing solar PV and energy efficiency</vt:lpstr>
      <vt:lpstr>Average Annual Buildout Necessary to Achieve State Goals by 2050</vt:lpstr>
      <vt:lpstr>2050 Transmission Study: Offshore Wind Analysis</vt:lpstr>
      <vt:lpstr>2050 Transmission Study: Offshore Wind Analysis Key Takeaways</vt:lpstr>
      <vt:lpstr>Offshore Wind and Winter Reliability</vt:lpstr>
      <vt:lpstr>PowerPoint Presentation</vt:lpstr>
      <vt:lpstr>Winter 2024/2025: The role of Offshore Wind in Regional Energy Mix</vt:lpstr>
      <vt:lpstr>Big Picture: How Offshore Wind works with overall generation mix</vt:lpstr>
      <vt:lpstr>Big Picture: Offshore Wind and Energy Policy Objectives</vt:lpstr>
      <vt:lpstr>Gas Timelines</vt:lpstr>
    </vt:vector>
  </TitlesOfParts>
  <Company>ISO New Englan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Adams, Sarah, A</dc:creator>
  <cp:lastModifiedBy>Twigg George</cp:lastModifiedBy>
  <cp:revision>39</cp:revision>
  <cp:lastPrinted>2015-05-13T16:52:31Z</cp:lastPrinted>
  <dcterms:created xsi:type="dcterms:W3CDTF">2025-05-09T16:28:09Z</dcterms:created>
  <dcterms:modified xsi:type="dcterms:W3CDTF">2025-05-15T15:03:11Z</dcterms:modified>
</cp:coreProperties>
</file>